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lsb" ContentType="application/vnd.ms-excel.sheet.binary.macroEnabled.12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notesSlides/notesSlide1.xml" ContentType="application/vnd.openxmlformats-officedocument.presentationml.notesSlide+xml"/>
  <Override PartName="/ppt/tags/tag12.xml" ContentType="application/vnd.openxmlformats-officedocument.presentationml.tags+xml"/>
  <Override PartName="/ppt/notesSlides/notesSlide2.xml" ContentType="application/vnd.openxmlformats-officedocument.presentationml.notesSlid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notesSlides/notesSlide3.xml" ContentType="application/vnd.openxmlformats-officedocument.presentationml.notesSlide+xml"/>
  <Override PartName="/ppt/charts/chart1.xml" ContentType="application/vnd.openxmlformats-officedocument.drawingml.chart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notesSlides/notesSlide4.xml" ContentType="application/vnd.openxmlformats-officedocument.presentationml.notesSlide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notesSlides/notesSlide5.xml" ContentType="application/vnd.openxmlformats-officedocument.presentationml.notesSlide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notesSlides/notesSlide6.xml" ContentType="application/vnd.openxmlformats-officedocument.presentationml.notesSlide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notesSlides/notesSlide7.xml" ContentType="application/vnd.openxmlformats-officedocument.presentationml.notesSlide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notesSlides/notesSlide8.xml" ContentType="application/vnd.openxmlformats-officedocument.presentationml.notesSlide+xml"/>
  <Override PartName="/ppt/charts/chart2.xml" ContentType="application/vnd.openxmlformats-officedocument.drawingml.chart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4"/>
  </p:sldMasterIdLst>
  <p:notesMasterIdLst>
    <p:notesMasterId r:id="rId20"/>
  </p:notesMasterIdLst>
  <p:handoutMasterIdLst>
    <p:handoutMasterId r:id="rId21"/>
  </p:handoutMasterIdLst>
  <p:sldIdLst>
    <p:sldId id="272" r:id="rId5"/>
    <p:sldId id="2146849241" r:id="rId6"/>
    <p:sldId id="2146849234" r:id="rId7"/>
    <p:sldId id="2146849227" r:id="rId8"/>
    <p:sldId id="2146849235" r:id="rId9"/>
    <p:sldId id="2146849242" r:id="rId10"/>
    <p:sldId id="2146849229" r:id="rId11"/>
    <p:sldId id="2146849240" r:id="rId12"/>
    <p:sldId id="2146849243" r:id="rId13"/>
    <p:sldId id="2146849244" r:id="rId14"/>
    <p:sldId id="2146849239" r:id="rId15"/>
    <p:sldId id="2146849238" r:id="rId16"/>
    <p:sldId id="2146849245" r:id="rId17"/>
    <p:sldId id="2146849237" r:id="rId18"/>
    <p:sldId id="2146849232" r:id="rId19"/>
  </p:sldIdLst>
  <p:sldSz cx="12192000" cy="6858000"/>
  <p:notesSz cx="6958013" cy="9947275"/>
  <p:custDataLst>
    <p:tags r:id="rId22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KIT" id="{C66B22B9-B01D-4CCC-9B11-75AACE3B512E}">
          <p14:sldIdLst>
            <p14:sldId id="272"/>
            <p14:sldId id="2146849241"/>
            <p14:sldId id="2146849234"/>
            <p14:sldId id="2146849227"/>
            <p14:sldId id="2146849235"/>
            <p14:sldId id="2146849242"/>
            <p14:sldId id="2146849229"/>
            <p14:sldId id="2146849240"/>
            <p14:sldId id="2146849243"/>
            <p14:sldId id="2146849244"/>
            <p14:sldId id="2146849239"/>
            <p14:sldId id="2146849238"/>
            <p14:sldId id="2146849245"/>
            <p14:sldId id="2146849237"/>
            <p14:sldId id="2146849232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7E9639D4-E3E2-4D34-9284-5A2195B3D0D7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E9639D4-E3E2-4D34-9284-5A2195B3D0D7}" styleName="Helle Formatvorlag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7979" autoAdjust="0"/>
    <p:restoredTop sz="89685" autoAdjust="0"/>
  </p:normalViewPr>
  <p:slideViewPr>
    <p:cSldViewPr snapToGrid="0" showGuides="1">
      <p:cViewPr varScale="1">
        <p:scale>
          <a:sx n="97" d="100"/>
          <a:sy n="97" d="100"/>
        </p:scale>
        <p:origin x="448" y="200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howGuides="1">
      <p:cViewPr varScale="1">
        <p:scale>
          <a:sx n="108" d="100"/>
          <a:sy n="108" d="100"/>
        </p:scale>
        <p:origin x="5280" y="114"/>
      </p:cViewPr>
      <p:guideLst/>
    </p:cSldViewPr>
  </p:notesViewPr>
  <p:gridSpacing cx="180000" cy="1800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tableStyles" Target="tableStyles.xml"/><Relationship Id="rId3" Type="http://schemas.openxmlformats.org/officeDocument/2006/relationships/customXml" Target="../customXml/item3.xml"/><Relationship Id="rId21" Type="http://schemas.openxmlformats.org/officeDocument/2006/relationships/handoutMaster" Target="handoutMasters/handoutMaster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notesMaster" Target="notesMasters/notesMaster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viewProps" Target="viewProp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presProps" Target="presProp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tags" Target="tags/tag1.xml"/><Relationship Id="rId27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Judith Scherr" userId="5860bcdb-954b-4e14-9b08-f11adda554ce" providerId="ADAL" clId="{E926F8D6-5E0C-49E5-A1CB-553CBD5CC041}"/>
    <pc:docChg chg="modSld">
      <pc:chgData name="Judith Scherr" userId="5860bcdb-954b-4e14-9b08-f11adda554ce" providerId="ADAL" clId="{E926F8D6-5E0C-49E5-A1CB-553CBD5CC041}" dt="2025-02-04T13:43:23.166" v="0" actId="20577"/>
      <pc:docMkLst>
        <pc:docMk/>
      </pc:docMkLst>
      <pc:sldChg chg="modSp mod">
        <pc:chgData name="Judith Scherr" userId="5860bcdb-954b-4e14-9b08-f11adda554ce" providerId="ADAL" clId="{E926F8D6-5E0C-49E5-A1CB-553CBD5CC041}" dt="2025-02-04T13:43:23.166" v="0" actId="20577"/>
        <pc:sldMkLst>
          <pc:docMk/>
          <pc:sldMk cId="3655717563" sldId="271"/>
        </pc:sldMkLst>
        <pc:spChg chg="mod">
          <ac:chgData name="Judith Scherr" userId="5860bcdb-954b-4e14-9b08-f11adda554ce" providerId="ADAL" clId="{E926F8D6-5E0C-49E5-A1CB-553CBD5CC041}" dt="2025-02-04T13:43:23.166" v="0" actId="20577"/>
          <ac:spMkLst>
            <pc:docMk/>
            <pc:sldMk cId="3655717563" sldId="271"/>
            <ac:spMk id="12" creationId="{1B64BD2E-7497-76F8-2C4D-A0444E8C815B}"/>
          </ac:spMkLst>
        </pc:spChg>
      </pc:sldChg>
    </pc:docChg>
  </pc:docChgLst>
  <pc:docChgLst>
    <pc:chgData name="Mario Meinhard" userId="5a2218a8-31bc-47b3-8c66-ed4e05b26d5d" providerId="ADAL" clId="{98174709-B7DA-4DCB-BD0C-E52AD6BE74B9}"/>
    <pc:docChg chg="undo redo custSel modSld modSection">
      <pc:chgData name="Mario Meinhard" userId="5a2218a8-31bc-47b3-8c66-ed4e05b26d5d" providerId="ADAL" clId="{98174709-B7DA-4DCB-BD0C-E52AD6BE74B9}" dt="2025-02-04T13:32:20.950" v="94" actId="34135"/>
      <pc:docMkLst>
        <pc:docMk/>
      </pc:docMkLst>
      <pc:sldChg chg="modSp mod">
        <pc:chgData name="Mario Meinhard" userId="5a2218a8-31bc-47b3-8c66-ed4e05b26d5d" providerId="ADAL" clId="{98174709-B7DA-4DCB-BD0C-E52AD6BE74B9}" dt="2025-02-04T13:20:40.241" v="43" actId="20577"/>
        <pc:sldMkLst>
          <pc:docMk/>
          <pc:sldMk cId="208757502" sldId="257"/>
        </pc:sldMkLst>
        <pc:spChg chg="mod">
          <ac:chgData name="Mario Meinhard" userId="5a2218a8-31bc-47b3-8c66-ed4e05b26d5d" providerId="ADAL" clId="{98174709-B7DA-4DCB-BD0C-E52AD6BE74B9}" dt="2025-02-04T13:20:25.106" v="30" actId="20577"/>
          <ac:spMkLst>
            <pc:docMk/>
            <pc:sldMk cId="208757502" sldId="257"/>
            <ac:spMk id="8" creationId="{57E6BC75-B6F5-2582-0E44-E54853E9078C}"/>
          </ac:spMkLst>
        </pc:spChg>
        <pc:spChg chg="mod">
          <ac:chgData name="Mario Meinhard" userId="5a2218a8-31bc-47b3-8c66-ed4e05b26d5d" providerId="ADAL" clId="{98174709-B7DA-4DCB-BD0C-E52AD6BE74B9}" dt="2025-02-04T13:20:36.862" v="38" actId="20577"/>
          <ac:spMkLst>
            <pc:docMk/>
            <pc:sldMk cId="208757502" sldId="257"/>
            <ac:spMk id="13" creationId="{F8098E8B-77CD-3F2F-CBDD-7D71E28C7949}"/>
          </ac:spMkLst>
        </pc:spChg>
        <pc:spChg chg="mod">
          <ac:chgData name="Mario Meinhard" userId="5a2218a8-31bc-47b3-8c66-ed4e05b26d5d" providerId="ADAL" clId="{98174709-B7DA-4DCB-BD0C-E52AD6BE74B9}" dt="2025-02-04T13:20:40.241" v="43" actId="20577"/>
          <ac:spMkLst>
            <pc:docMk/>
            <pc:sldMk cId="208757502" sldId="257"/>
            <ac:spMk id="29" creationId="{35A133DC-8528-411B-9D91-0ED8175D4F0C}"/>
          </ac:spMkLst>
        </pc:spChg>
        <pc:spChg chg="mod">
          <ac:chgData name="Mario Meinhard" userId="5a2218a8-31bc-47b3-8c66-ed4e05b26d5d" providerId="ADAL" clId="{98174709-B7DA-4DCB-BD0C-E52AD6BE74B9}" dt="2025-02-04T13:20:28.892" v="35" actId="20577"/>
          <ac:spMkLst>
            <pc:docMk/>
            <pc:sldMk cId="208757502" sldId="257"/>
            <ac:spMk id="30" creationId="{A5BAA364-A813-C6A2-E3B2-344A71F7E1B0}"/>
          </ac:spMkLst>
        </pc:spChg>
      </pc:sldChg>
      <pc:sldChg chg="addSp delSp modSp mod">
        <pc:chgData name="Mario Meinhard" userId="5a2218a8-31bc-47b3-8c66-ed4e05b26d5d" providerId="ADAL" clId="{98174709-B7DA-4DCB-BD0C-E52AD6BE74B9}" dt="2025-02-04T13:20:02.207" v="15" actId="478"/>
        <pc:sldMkLst>
          <pc:docMk/>
          <pc:sldMk cId="3655717563" sldId="271"/>
        </pc:sldMkLst>
        <pc:spChg chg="mod">
          <ac:chgData name="Mario Meinhard" userId="5a2218a8-31bc-47b3-8c66-ed4e05b26d5d" providerId="ADAL" clId="{98174709-B7DA-4DCB-BD0C-E52AD6BE74B9}" dt="2025-02-04T13:19:55.767" v="13" actId="34135"/>
          <ac:spMkLst>
            <pc:docMk/>
            <pc:sldMk cId="3655717563" sldId="271"/>
            <ac:spMk id="12" creationId="{1B64BD2E-7497-76F8-2C4D-A0444E8C815B}"/>
          </ac:spMkLst>
        </pc:spChg>
        <pc:graphicFrameChg chg="add del modGraphic">
          <ac:chgData name="Mario Meinhard" userId="5a2218a8-31bc-47b3-8c66-ed4e05b26d5d" providerId="ADAL" clId="{98174709-B7DA-4DCB-BD0C-E52AD6BE74B9}" dt="2025-02-04T13:20:02.207" v="15" actId="478"/>
          <ac:graphicFrameMkLst>
            <pc:docMk/>
            <pc:sldMk cId="3655717563" sldId="271"/>
            <ac:graphicFrameMk id="6" creationId="{650CD899-26F8-0121-6E28-87FDC3D1D7CC}"/>
          </ac:graphicFrameMkLst>
        </pc:graphicFrameChg>
      </pc:sldChg>
      <pc:sldChg chg="modSp mod">
        <pc:chgData name="Mario Meinhard" userId="5a2218a8-31bc-47b3-8c66-ed4e05b26d5d" providerId="ADAL" clId="{98174709-B7DA-4DCB-BD0C-E52AD6BE74B9}" dt="2025-02-04T13:18:47.184" v="7" actId="20577"/>
        <pc:sldMkLst>
          <pc:docMk/>
          <pc:sldMk cId="305388610" sldId="272"/>
        </pc:sldMkLst>
        <pc:spChg chg="mod">
          <ac:chgData name="Mario Meinhard" userId="5a2218a8-31bc-47b3-8c66-ed4e05b26d5d" providerId="ADAL" clId="{98174709-B7DA-4DCB-BD0C-E52AD6BE74B9}" dt="2025-02-04T13:18:47.184" v="7" actId="20577"/>
          <ac:spMkLst>
            <pc:docMk/>
            <pc:sldMk cId="305388610" sldId="272"/>
            <ac:spMk id="5" creationId="{5C44666C-DAAF-B0B7-5911-2FEA58B2DF60}"/>
          </ac:spMkLst>
        </pc:spChg>
      </pc:sldChg>
      <pc:sldChg chg="modSp mod">
        <pc:chgData name="Mario Meinhard" userId="5a2218a8-31bc-47b3-8c66-ed4e05b26d5d" providerId="ADAL" clId="{98174709-B7DA-4DCB-BD0C-E52AD6BE74B9}" dt="2025-02-04T13:30:35.669" v="68" actId="207"/>
        <pc:sldMkLst>
          <pc:docMk/>
          <pc:sldMk cId="747948129" sldId="2146849195"/>
        </pc:sldMkLst>
        <pc:graphicFrameChg chg="mod modGraphic">
          <ac:chgData name="Mario Meinhard" userId="5a2218a8-31bc-47b3-8c66-ed4e05b26d5d" providerId="ADAL" clId="{98174709-B7DA-4DCB-BD0C-E52AD6BE74B9}" dt="2025-02-04T13:30:35.669" v="68" actId="207"/>
          <ac:graphicFrameMkLst>
            <pc:docMk/>
            <pc:sldMk cId="747948129" sldId="2146849195"/>
            <ac:graphicFrameMk id="8" creationId="{75CC85CF-BAFB-0385-2DCE-44E34B4B08A4}"/>
          </ac:graphicFrameMkLst>
        </pc:graphicFrameChg>
      </pc:sldChg>
      <pc:sldChg chg="modSp mod">
        <pc:chgData name="Mario Meinhard" userId="5a2218a8-31bc-47b3-8c66-ed4e05b26d5d" providerId="ADAL" clId="{98174709-B7DA-4DCB-BD0C-E52AD6BE74B9}" dt="2025-02-04T13:31:06.136" v="74" actId="207"/>
        <pc:sldMkLst>
          <pc:docMk/>
          <pc:sldMk cId="3781605894" sldId="2146849196"/>
        </pc:sldMkLst>
        <pc:graphicFrameChg chg="mod modGraphic">
          <ac:chgData name="Mario Meinhard" userId="5a2218a8-31bc-47b3-8c66-ed4e05b26d5d" providerId="ADAL" clId="{98174709-B7DA-4DCB-BD0C-E52AD6BE74B9}" dt="2025-02-04T13:31:06.136" v="74" actId="207"/>
          <ac:graphicFrameMkLst>
            <pc:docMk/>
            <pc:sldMk cId="3781605894" sldId="2146849196"/>
            <ac:graphicFrameMk id="8" creationId="{C9A25A78-D171-C62A-ACCE-31A7F2A4954B}"/>
          </ac:graphicFrameMkLst>
        </pc:graphicFrameChg>
      </pc:sldChg>
      <pc:sldChg chg="addSp delSp modSp mod">
        <pc:chgData name="Mario Meinhard" userId="5a2218a8-31bc-47b3-8c66-ed4e05b26d5d" providerId="ADAL" clId="{98174709-B7DA-4DCB-BD0C-E52AD6BE74B9}" dt="2025-02-04T13:32:20.950" v="94" actId="34135"/>
        <pc:sldMkLst>
          <pc:docMk/>
          <pc:sldMk cId="388228157" sldId="2146849212"/>
        </pc:sldMkLst>
        <pc:spChg chg="mod">
          <ac:chgData name="Mario Meinhard" userId="5a2218a8-31bc-47b3-8c66-ed4e05b26d5d" providerId="ADAL" clId="{98174709-B7DA-4DCB-BD0C-E52AD6BE74B9}" dt="2025-02-04T13:20:58.436" v="49" actId="20577"/>
          <ac:spMkLst>
            <pc:docMk/>
            <pc:sldMk cId="388228157" sldId="2146849212"/>
            <ac:spMk id="10" creationId="{1A915988-2A05-7049-3FDF-EBD4F05A2B88}"/>
          </ac:spMkLst>
        </pc:spChg>
        <pc:picChg chg="add mod ord">
          <ac:chgData name="Mario Meinhard" userId="5a2218a8-31bc-47b3-8c66-ed4e05b26d5d" providerId="ADAL" clId="{98174709-B7DA-4DCB-BD0C-E52AD6BE74B9}" dt="2025-02-04T13:32:20.950" v="94" actId="34135"/>
          <ac:picMkLst>
            <pc:docMk/>
            <pc:sldMk cId="388228157" sldId="2146849212"/>
            <ac:picMk id="6" creationId="{97F50250-E0CC-10B0-0B93-E97012C3F5F0}"/>
          </ac:picMkLst>
        </pc:picChg>
        <pc:picChg chg="del mod">
          <ac:chgData name="Mario Meinhard" userId="5a2218a8-31bc-47b3-8c66-ed4e05b26d5d" providerId="ADAL" clId="{98174709-B7DA-4DCB-BD0C-E52AD6BE74B9}" dt="2025-02-04T13:32:12.742" v="91" actId="478"/>
          <ac:picMkLst>
            <pc:docMk/>
            <pc:sldMk cId="388228157" sldId="2146849212"/>
            <ac:picMk id="7" creationId="{85837F1E-AB9C-D8B6-1CE9-FB7149A11ED3}"/>
          </ac:picMkLst>
        </pc:picChg>
        <pc:picChg chg="del mod">
          <ac:chgData name="Mario Meinhard" userId="5a2218a8-31bc-47b3-8c66-ed4e05b26d5d" providerId="ADAL" clId="{98174709-B7DA-4DCB-BD0C-E52AD6BE74B9}" dt="2025-02-04T13:32:13.440" v="92" actId="478"/>
          <ac:picMkLst>
            <pc:docMk/>
            <pc:sldMk cId="388228157" sldId="2146849212"/>
            <ac:picMk id="9" creationId="{07DF220A-C28A-72CF-2087-B3214B520160}"/>
          </ac:picMkLst>
        </pc:picChg>
        <pc:picChg chg="add del">
          <ac:chgData name="Mario Meinhard" userId="5a2218a8-31bc-47b3-8c66-ed4e05b26d5d" providerId="ADAL" clId="{98174709-B7DA-4DCB-BD0C-E52AD6BE74B9}" dt="2025-02-04T13:30:32.812" v="66" actId="22"/>
          <ac:picMkLst>
            <pc:docMk/>
            <pc:sldMk cId="388228157" sldId="2146849212"/>
            <ac:picMk id="12" creationId="{35EF1600-8E61-3ED4-CC26-12AB48AED756}"/>
          </ac:picMkLst>
        </pc:picChg>
        <pc:picChg chg="del mod">
          <ac:chgData name="Mario Meinhard" userId="5a2218a8-31bc-47b3-8c66-ed4e05b26d5d" providerId="ADAL" clId="{98174709-B7DA-4DCB-BD0C-E52AD6BE74B9}" dt="2025-02-04T13:32:15.345" v="93" actId="478"/>
          <ac:picMkLst>
            <pc:docMk/>
            <pc:sldMk cId="388228157" sldId="2146849212"/>
            <ac:picMk id="13" creationId="{509051D8-E7F3-DA6E-F7F1-54F557E826EA}"/>
          </ac:picMkLst>
        </pc:picChg>
        <pc:picChg chg="add mod ord">
          <ac:chgData name="Mario Meinhard" userId="5a2218a8-31bc-47b3-8c66-ed4e05b26d5d" providerId="ADAL" clId="{98174709-B7DA-4DCB-BD0C-E52AD6BE74B9}" dt="2025-02-04T13:32:20.950" v="94" actId="34135"/>
          <ac:picMkLst>
            <pc:docMk/>
            <pc:sldMk cId="388228157" sldId="2146849212"/>
            <ac:picMk id="15" creationId="{6DF5C50E-690C-7723-2AB3-0C43201936F1}"/>
          </ac:picMkLst>
        </pc:picChg>
        <pc:picChg chg="add mod ord">
          <ac:chgData name="Mario Meinhard" userId="5a2218a8-31bc-47b3-8c66-ed4e05b26d5d" providerId="ADAL" clId="{98174709-B7DA-4DCB-BD0C-E52AD6BE74B9}" dt="2025-02-04T13:32:20.950" v="94" actId="34135"/>
          <ac:picMkLst>
            <pc:docMk/>
            <pc:sldMk cId="388228157" sldId="2146849212"/>
            <ac:picMk id="17" creationId="{69E54FF4-02CC-7674-4CEF-A1E3173C0CF6}"/>
          </ac:picMkLst>
        </pc:pic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.xlsb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.xlsb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4270032930845226E-2"/>
          <c:y val="2.0015396458814474E-2"/>
          <c:w val="0.97145993413830956"/>
          <c:h val="0.9599692070823711"/>
        </c:manualLayout>
      </c:layout>
      <c:barChart>
        <c:barDir val="col"/>
        <c:grouping val="stacked"/>
        <c:varyColors val="0"/>
        <c:ser>
          <c:idx val="0"/>
          <c:order val="0"/>
          <c:spPr>
            <a:noFill/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914B-7345-8A18-5E0E51995107}"/>
              </c:ext>
            </c:extLst>
          </c:dPt>
          <c:dPt>
            <c:idx val="3"/>
            <c:invertIfNegative val="0"/>
            <c:bubble3D val="0"/>
            <c:spPr>
              <a:solidFill>
                <a:schemeClr val="bg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914B-7345-8A18-5E0E51995107}"/>
              </c:ext>
            </c:extLst>
          </c:dPt>
          <c:val>
            <c:numRef>
              <c:f>Sheet1!$A$1:$D$1</c:f>
              <c:numCache>
                <c:formatCode>General</c:formatCode>
                <c:ptCount val="4"/>
                <c:pt idx="0">
                  <c:v>1</c:v>
                </c:pt>
                <c:pt idx="1">
                  <c:v>0.53495199999999998</c:v>
                </c:pt>
                <c:pt idx="2">
                  <c:v>1.3828999999999999E-2</c:v>
                </c:pt>
                <c:pt idx="3">
                  <c:v>1.3828999999999999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914B-7345-8A18-5E0E51995107}"/>
            </c:ext>
          </c:extLst>
        </c:ser>
        <c:ser>
          <c:idx val="1"/>
          <c:order val="1"/>
          <c:spPr>
            <a:solidFill>
              <a:schemeClr val="accent3"/>
            </a:solidFill>
            <a:ln>
              <a:noFill/>
            </a:ln>
          </c:spPr>
          <c:invertIfNegative val="0"/>
          <c:dPt>
            <c:idx val="2"/>
            <c:invertIfNegative val="0"/>
            <c:bubble3D val="0"/>
            <c:spPr>
              <a:solidFill>
                <a:schemeClr val="bg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3-914B-7345-8A18-5E0E51995107}"/>
              </c:ext>
            </c:extLst>
          </c:dPt>
          <c:val>
            <c:numRef>
              <c:f>Sheet1!$A$2:$D$2</c:f>
              <c:numCache>
                <c:formatCode>General</c:formatCode>
                <c:ptCount val="4"/>
                <c:pt idx="1">
                  <c:v>0.46504800000000002</c:v>
                </c:pt>
                <c:pt idx="2">
                  <c:v>0.52112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914B-7345-8A18-5E0E5199510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109274895"/>
        <c:axId val="1"/>
      </c:barChart>
      <c:catAx>
        <c:axId val="1109274895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109274895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6804123711340205E-2"/>
          <c:y val="3.7142857142857144E-2"/>
          <c:w val="0.94639175257731956"/>
          <c:h val="0.92571428571428571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969696"/>
            </a:solidFill>
            <a:ln>
              <a:noFill/>
            </a:ln>
          </c:spPr>
          <c:invertIfNegative val="0"/>
          <c:val>
            <c:numRef>
              <c:f>Sheet1!$A$1:$B$1</c:f>
              <c:numCache>
                <c:formatCode>General</c:formatCode>
                <c:ptCount val="2"/>
                <c:pt idx="0">
                  <c:v>5.1271999999999998E-6</c:v>
                </c:pt>
                <c:pt idx="1">
                  <c:v>5.22E-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023-3346-8406-075570E1F1E1}"/>
            </c:ext>
          </c:extLst>
        </c:ser>
        <c:ser>
          <c:idx val="1"/>
          <c:order val="1"/>
          <c:spPr>
            <a:solidFill>
              <a:schemeClr val="bg2"/>
            </a:solidFill>
            <a:ln>
              <a:noFill/>
            </a:ln>
          </c:spPr>
          <c:invertIfNegative val="0"/>
          <c:val>
            <c:numRef>
              <c:f>Sheet1!$A$2:$B$2</c:f>
              <c:numCache>
                <c:formatCode>General</c:formatCode>
                <c:ptCount val="2"/>
                <c:pt idx="0">
                  <c:v>1.9321E-4</c:v>
                </c:pt>
                <c:pt idx="1">
                  <c:v>1.9321E-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6023-3346-8406-075570E1F1E1}"/>
            </c:ext>
          </c:extLst>
        </c:ser>
        <c:ser>
          <c:idx val="2"/>
          <c:order val="2"/>
          <c:spPr>
            <a:solidFill>
              <a:schemeClr val="accent3"/>
            </a:solidFill>
            <a:ln>
              <a:noFill/>
            </a:ln>
          </c:spPr>
          <c:invertIfNegative val="0"/>
          <c:val>
            <c:numRef>
              <c:f>Sheet1!$A$3:$B$3</c:f>
              <c:numCache>
                <c:formatCode>General</c:formatCode>
                <c:ptCount val="2"/>
                <c:pt idx="0">
                  <c:v>1.7242000000000001E-4</c:v>
                </c:pt>
                <c:pt idx="1">
                  <c:v>3.3812500000000016E-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6023-3346-8406-075570E1F1E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1407525231"/>
        <c:axId val="1"/>
      </c:barChart>
      <c:catAx>
        <c:axId val="1407525231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3.707572E-4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407525231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Kopfzeilenplatzhalter 1">
            <a:extLst>
              <a:ext uri="{FF2B5EF4-FFF2-40B4-BE49-F238E27FC236}">
                <a16:creationId xmlns:a16="http://schemas.microsoft.com/office/drawing/2014/main" id="{7021594F-60AF-5030-27F4-B919E0755C05}"/>
              </a:ext>
            </a:extLst>
          </p:cNvPr>
          <p:cNvSpPr>
            <a:spLocks noGrp="1"/>
          </p:cNvSpPr>
          <p:nvPr>
            <p:ph type="hdr" sz="quarter"/>
          </p:nvPr>
        </p:nvSpPr>
        <p:spPr bwMode="gray">
          <a:xfrm>
            <a:off x="184640" y="0"/>
            <a:ext cx="5886653" cy="499091"/>
          </a:xfrm>
          <a:prstGeom prst="rect">
            <a:avLst/>
          </a:prstGeom>
        </p:spPr>
        <p:txBody>
          <a:bodyPr vert="horz" lIns="0" tIns="144000" rIns="0" bIns="0" rtlCol="0"/>
          <a:lstStyle>
            <a:lvl1pPr algn="l">
              <a:defRPr sz="700">
                <a:solidFill>
                  <a:schemeClr val="bg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7" name="Datumsplatzhalter 2">
            <a:extLst>
              <a:ext uri="{FF2B5EF4-FFF2-40B4-BE49-F238E27FC236}">
                <a16:creationId xmlns:a16="http://schemas.microsoft.com/office/drawing/2014/main" id="{45C4C54D-5268-2170-0B7D-70659D206B08}"/>
              </a:ext>
            </a:extLst>
          </p:cNvPr>
          <p:cNvSpPr>
            <a:spLocks noGrp="1"/>
          </p:cNvSpPr>
          <p:nvPr>
            <p:ph type="dt" idx="1"/>
          </p:nvPr>
        </p:nvSpPr>
        <p:spPr bwMode="gray">
          <a:xfrm>
            <a:off x="6071293" y="0"/>
            <a:ext cx="700471" cy="499091"/>
          </a:xfrm>
          <a:prstGeom prst="rect">
            <a:avLst/>
          </a:prstGeom>
        </p:spPr>
        <p:txBody>
          <a:bodyPr vert="horz" lIns="0" tIns="144000" rIns="0" bIns="0" rtlCol="0"/>
          <a:lstStyle>
            <a:lvl1pPr algn="r">
              <a:defRPr sz="700">
                <a:solidFill>
                  <a:schemeClr val="bg2"/>
                </a:solidFill>
              </a:defRPr>
            </a:lvl1pPr>
          </a:lstStyle>
          <a:p>
            <a:fld id="{0530C102-DC59-4ADF-BCE9-B21E5AA1F1ED}" type="datetimeFigureOut">
              <a:rPr lang="en-US" smtClean="0"/>
              <a:pPr/>
              <a:t>7/1/25</a:t>
            </a:fld>
            <a:endParaRPr lang="en-US" dirty="0"/>
          </a:p>
        </p:txBody>
      </p:sp>
      <p:sp>
        <p:nvSpPr>
          <p:cNvPr id="8" name="Fußzeilenplatzhalter 5">
            <a:extLst>
              <a:ext uri="{FF2B5EF4-FFF2-40B4-BE49-F238E27FC236}">
                <a16:creationId xmlns:a16="http://schemas.microsoft.com/office/drawing/2014/main" id="{A7568FAF-32D5-F797-5874-241DEBC3A7AC}"/>
              </a:ext>
            </a:extLst>
          </p:cNvPr>
          <p:cNvSpPr>
            <a:spLocks noGrp="1"/>
          </p:cNvSpPr>
          <p:nvPr>
            <p:ph type="ftr" sz="quarter" idx="2"/>
          </p:nvPr>
        </p:nvSpPr>
        <p:spPr bwMode="gray">
          <a:xfrm>
            <a:off x="184640" y="9448185"/>
            <a:ext cx="5886653" cy="499090"/>
          </a:xfrm>
          <a:prstGeom prst="rect">
            <a:avLst/>
          </a:prstGeom>
        </p:spPr>
        <p:txBody>
          <a:bodyPr vert="horz" lIns="0" tIns="0" rIns="0" bIns="144000" rtlCol="0" anchor="b"/>
          <a:lstStyle>
            <a:lvl1pPr algn="l">
              <a:defRPr sz="700">
                <a:solidFill>
                  <a:schemeClr val="bg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" name="Foliennummernplatzhalter 6">
            <a:extLst>
              <a:ext uri="{FF2B5EF4-FFF2-40B4-BE49-F238E27FC236}">
                <a16:creationId xmlns:a16="http://schemas.microsoft.com/office/drawing/2014/main" id="{6A11AFD2-EF91-BDDC-349A-DB1934250BB8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 bwMode="gray">
          <a:xfrm>
            <a:off x="6071293" y="9448185"/>
            <a:ext cx="700471" cy="499090"/>
          </a:xfrm>
          <a:prstGeom prst="rect">
            <a:avLst/>
          </a:prstGeom>
        </p:spPr>
        <p:txBody>
          <a:bodyPr vert="horz" lIns="0" tIns="0" rIns="0" bIns="144000" rtlCol="0" anchor="b"/>
          <a:lstStyle>
            <a:lvl1pPr algn="r">
              <a:defRPr sz="700">
                <a:solidFill>
                  <a:schemeClr val="bg2"/>
                </a:solidFill>
              </a:defRPr>
            </a:lvl1pPr>
          </a:lstStyle>
          <a:p>
            <a:fld id="{8D601724-35E3-4B40-B93F-B7E192B7FF5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50610437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704" userDrawn="1">
          <p15:clr>
            <a:srgbClr val="F26B43"/>
          </p15:clr>
        </p15:guide>
        <p15:guide id="2" pos="2191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 bwMode="gray">
          <a:xfrm>
            <a:off x="184640" y="0"/>
            <a:ext cx="5886653" cy="499091"/>
          </a:xfrm>
          <a:prstGeom prst="rect">
            <a:avLst/>
          </a:prstGeom>
        </p:spPr>
        <p:txBody>
          <a:bodyPr vert="horz" lIns="0" tIns="144000" rIns="0" bIns="0" rtlCol="0"/>
          <a:lstStyle>
            <a:lvl1pPr algn="l">
              <a:defRPr sz="700">
                <a:solidFill>
                  <a:schemeClr val="bg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 bwMode="gray">
          <a:xfrm>
            <a:off x="6071293" y="0"/>
            <a:ext cx="700471" cy="499091"/>
          </a:xfrm>
          <a:prstGeom prst="rect">
            <a:avLst/>
          </a:prstGeom>
        </p:spPr>
        <p:txBody>
          <a:bodyPr vert="horz" lIns="0" tIns="144000" rIns="0" bIns="0" rtlCol="0"/>
          <a:lstStyle>
            <a:lvl1pPr algn="r">
              <a:defRPr sz="700">
                <a:solidFill>
                  <a:schemeClr val="bg2"/>
                </a:solidFill>
              </a:defRPr>
            </a:lvl1pPr>
          </a:lstStyle>
          <a:p>
            <a:fld id="{0530C102-DC59-4ADF-BCE9-B21E5AA1F1ED}" type="datetimeFigureOut">
              <a:rPr lang="en-US" smtClean="0"/>
              <a:pPr/>
              <a:t>7/1/25</a:t>
            </a:fld>
            <a:endParaRPr lang="en-US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 bwMode="gray">
          <a:xfrm>
            <a:off x="184640" y="499091"/>
            <a:ext cx="6588732" cy="3707147"/>
          </a:xfrm>
          <a:prstGeom prst="rect">
            <a:avLst/>
          </a:prstGeom>
          <a:noFill/>
          <a:ln w="6350">
            <a:solidFill>
              <a:schemeClr val="bg2"/>
            </a:solidFill>
          </a:ln>
        </p:spPr>
        <p:txBody>
          <a:bodyPr vert="horz" lIns="96597" tIns="48299" rIns="96597" bIns="48299" rtlCol="0" anchor="ctr"/>
          <a:lstStyle/>
          <a:p>
            <a:endParaRPr lang="en-US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 bwMode="gray">
          <a:xfrm>
            <a:off x="192088" y="4398211"/>
            <a:ext cx="6581284" cy="4679883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6"/>
            <a:r>
              <a:rPr lang="en-US" dirty="0"/>
              <a:t>Eighth level</a:t>
            </a:r>
          </a:p>
          <a:p>
            <a:pPr lvl="7"/>
            <a:r>
              <a:rPr lang="en-US" dirty="0"/>
              <a:t>Ninth level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 bwMode="gray">
          <a:xfrm>
            <a:off x="184640" y="9448185"/>
            <a:ext cx="5886653" cy="499090"/>
          </a:xfrm>
          <a:prstGeom prst="rect">
            <a:avLst/>
          </a:prstGeom>
        </p:spPr>
        <p:txBody>
          <a:bodyPr vert="horz" lIns="0" tIns="0" rIns="0" bIns="144000" rtlCol="0" anchor="b"/>
          <a:lstStyle>
            <a:lvl1pPr algn="l">
              <a:defRPr sz="700">
                <a:solidFill>
                  <a:schemeClr val="bg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 bwMode="gray">
          <a:xfrm>
            <a:off x="6071293" y="9448185"/>
            <a:ext cx="700471" cy="499090"/>
          </a:xfrm>
          <a:prstGeom prst="rect">
            <a:avLst/>
          </a:prstGeom>
        </p:spPr>
        <p:txBody>
          <a:bodyPr vert="horz" lIns="0" tIns="0" rIns="0" bIns="144000" rtlCol="0" anchor="b"/>
          <a:lstStyle>
            <a:lvl1pPr algn="r">
              <a:defRPr sz="700">
                <a:solidFill>
                  <a:schemeClr val="bg2"/>
                </a:solidFill>
              </a:defRPr>
            </a:lvl1pPr>
          </a:lstStyle>
          <a:p>
            <a:fld id="{8D601724-35E3-4B40-B93F-B7E192B7FF5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985744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indent="0" algn="l" defTabSz="914400" rtl="0" eaLnBrk="1" latinLnBrk="0" hangingPunct="1">
      <a:lnSpc>
        <a:spcPct val="110000"/>
      </a:lnSpc>
      <a:spcBef>
        <a:spcPts val="300"/>
      </a:spcBef>
      <a:spcAft>
        <a:spcPts val="300"/>
      </a:spcAft>
      <a:defRPr sz="1200" kern="1200">
        <a:solidFill>
          <a:srgbClr val="000000"/>
        </a:solidFill>
        <a:latin typeface="+mn-lt"/>
        <a:ea typeface="+mn-ea"/>
        <a:cs typeface="+mn-cs"/>
      </a:defRPr>
    </a:lvl1pPr>
    <a:lvl2pPr marL="252000" indent="-252000" algn="l" defTabSz="914400" rtl="0" eaLnBrk="1" latinLnBrk="0" hangingPunct="1">
      <a:lnSpc>
        <a:spcPct val="110000"/>
      </a:lnSpc>
      <a:spcBef>
        <a:spcPts val="300"/>
      </a:spcBef>
      <a:spcAft>
        <a:spcPts val="300"/>
      </a:spcAft>
      <a:buClr>
        <a:schemeClr val="accent1"/>
      </a:buClr>
      <a:buFont typeface="Wingdings" panose="05000000000000000000" pitchFamily="2" charset="2"/>
      <a:buChar char="§"/>
      <a:defRPr sz="1200" kern="1200">
        <a:solidFill>
          <a:srgbClr val="000000"/>
        </a:solidFill>
        <a:latin typeface="+mn-lt"/>
        <a:ea typeface="+mn-ea"/>
        <a:cs typeface="+mn-cs"/>
      </a:defRPr>
    </a:lvl2pPr>
    <a:lvl3pPr marL="252000" indent="-252000" algn="l" defTabSz="914400" rtl="0" eaLnBrk="1" latinLnBrk="0" hangingPunct="1">
      <a:lnSpc>
        <a:spcPct val="110000"/>
      </a:lnSpc>
      <a:spcBef>
        <a:spcPts val="300"/>
      </a:spcBef>
      <a:spcAft>
        <a:spcPts val="300"/>
      </a:spcAft>
      <a:buClr>
        <a:schemeClr val="accent1"/>
      </a:buClr>
      <a:buFont typeface="+mj-lt"/>
      <a:buAutoNum type="arabicPeriod"/>
      <a:defRPr sz="1200" kern="1200">
        <a:solidFill>
          <a:srgbClr val="000000"/>
        </a:solidFill>
        <a:latin typeface="+mn-lt"/>
        <a:ea typeface="+mn-ea"/>
        <a:cs typeface="+mn-cs"/>
      </a:defRPr>
    </a:lvl3pPr>
    <a:lvl4pPr marL="504000" indent="-252000" algn="l" defTabSz="914400" rtl="0" eaLnBrk="1" latinLnBrk="0" hangingPunct="1">
      <a:lnSpc>
        <a:spcPct val="110000"/>
      </a:lnSpc>
      <a:spcBef>
        <a:spcPts val="0"/>
      </a:spcBef>
      <a:spcAft>
        <a:spcPts val="300"/>
      </a:spcAft>
      <a:buClr>
        <a:schemeClr val="accent1"/>
      </a:buClr>
      <a:buFont typeface="Symbol" panose="05050102010706020507" pitchFamily="18" charset="2"/>
      <a:buChar char="-"/>
      <a:defRPr sz="1200" kern="1200">
        <a:solidFill>
          <a:srgbClr val="000000"/>
        </a:solidFill>
        <a:latin typeface="+mn-lt"/>
        <a:ea typeface="+mn-ea"/>
        <a:cs typeface="+mn-cs"/>
      </a:defRPr>
    </a:lvl4pPr>
    <a:lvl5pPr marL="504000" indent="-252000" algn="l" defTabSz="914400" rtl="0" eaLnBrk="1" latinLnBrk="0" hangingPunct="1">
      <a:lnSpc>
        <a:spcPct val="110000"/>
      </a:lnSpc>
      <a:spcBef>
        <a:spcPts val="0"/>
      </a:spcBef>
      <a:spcAft>
        <a:spcPts val="300"/>
      </a:spcAft>
      <a:buClr>
        <a:schemeClr val="accent1"/>
      </a:buClr>
      <a:buFont typeface="+mj-lt"/>
      <a:buAutoNum type="alphaLcPeriod"/>
      <a:defRPr sz="1200" kern="1200">
        <a:solidFill>
          <a:srgbClr val="000000"/>
        </a:solidFill>
        <a:latin typeface="+mn-lt"/>
        <a:ea typeface="+mn-ea"/>
        <a:cs typeface="+mn-cs"/>
      </a:defRPr>
    </a:lvl5pPr>
    <a:lvl6pPr marL="0" indent="0" algn="l" defTabSz="914400" rtl="0" eaLnBrk="1" latinLnBrk="0" hangingPunct="1">
      <a:lnSpc>
        <a:spcPct val="110000"/>
      </a:lnSpc>
      <a:spcBef>
        <a:spcPts val="1000"/>
      </a:spcBef>
      <a:spcAft>
        <a:spcPts val="600"/>
      </a:spcAft>
      <a:defRPr sz="1600" b="1" kern="1200">
        <a:solidFill>
          <a:schemeClr val="accent1"/>
        </a:solidFill>
        <a:latin typeface="+mn-lt"/>
        <a:ea typeface="+mn-ea"/>
        <a:cs typeface="+mn-cs"/>
      </a:defRPr>
    </a:lvl6pPr>
    <a:lvl7pPr marL="0" indent="0" algn="l" defTabSz="914400" rtl="0" eaLnBrk="1" latinLnBrk="0" hangingPunct="1">
      <a:lnSpc>
        <a:spcPct val="110000"/>
      </a:lnSpc>
      <a:spcBef>
        <a:spcPts val="300"/>
      </a:spcBef>
      <a:spcAft>
        <a:spcPts val="300"/>
      </a:spcAft>
      <a:defRPr sz="800" kern="1200">
        <a:solidFill>
          <a:srgbClr val="000000"/>
        </a:solidFill>
        <a:latin typeface="+mn-lt"/>
        <a:ea typeface="+mn-ea"/>
        <a:cs typeface="+mn-cs"/>
      </a:defRPr>
    </a:lvl7pPr>
    <a:lvl8pPr marL="0" indent="0" algn="l" defTabSz="914400" rtl="0" eaLnBrk="1" latinLnBrk="0" hangingPunct="1">
      <a:lnSpc>
        <a:spcPct val="110000"/>
      </a:lnSpc>
      <a:spcBef>
        <a:spcPts val="300"/>
      </a:spcBef>
      <a:spcAft>
        <a:spcPts val="300"/>
      </a:spcAft>
      <a:defRPr sz="800" kern="1200">
        <a:solidFill>
          <a:srgbClr val="000000"/>
        </a:solidFill>
        <a:latin typeface="+mn-lt"/>
        <a:ea typeface="+mn-ea"/>
        <a:cs typeface="+mn-cs"/>
      </a:defRPr>
    </a:lvl8pPr>
    <a:lvl9pPr marL="0" indent="0" algn="l" defTabSz="914400" rtl="0" eaLnBrk="1" latinLnBrk="0" hangingPunct="1">
      <a:lnSpc>
        <a:spcPct val="110000"/>
      </a:lnSpc>
      <a:spcBef>
        <a:spcPts val="300"/>
      </a:spcBef>
      <a:spcAft>
        <a:spcPts val="300"/>
      </a:spcAft>
      <a:defRPr sz="800" kern="1200">
        <a:solidFill>
          <a:srgbClr val="000000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orient="horz" pos="2772" userDrawn="1">
          <p15:clr>
            <a:srgbClr val="F26B43"/>
          </p15:clr>
        </p15:guide>
        <p15:guide id="2" pos="121" userDrawn="1">
          <p15:clr>
            <a:srgbClr val="F26B43"/>
          </p15:clr>
        </p15:guide>
        <p15:guide id="3" pos="4271" userDrawn="1">
          <p15:clr>
            <a:srgbClr val="F26B43"/>
          </p15:clr>
        </p15:guide>
      </p15:sldGuideLst>
    </p:ext>
  </p:extLst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84150" y="498475"/>
            <a:ext cx="6589713" cy="37084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Add </a:t>
            </a:r>
            <a:r>
              <a:rPr lang="en-GB" dirty="0" err="1"/>
              <a:t>afs</a:t>
            </a:r>
            <a:r>
              <a:rPr lang="en-GB"/>
              <a:t>?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D601724-35E3-4B40-B93F-B7E192B7FF5D}" type="slidenum">
              <a:rPr lang="en-US" smtClean="0"/>
              <a:pPr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0884579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84150" y="498475"/>
            <a:ext cx="6589713" cy="37084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D601724-35E3-4B40-B93F-B7E192B7FF5D}" type="slidenum">
              <a:rPr lang="en-US" smtClean="0"/>
              <a:pPr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4359896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84150" y="498475"/>
            <a:ext cx="6589713" cy="37084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D601724-35E3-4B40-B93F-B7E192B7FF5D}" type="slidenum">
              <a:rPr lang="en-US" smtClean="0"/>
              <a:pPr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0224634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84150" y="498475"/>
            <a:ext cx="6589713" cy="37084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Why effective field theories? Average out behaviour of high energy degrees of freedom, reduce number of mass scales</a:t>
            </a:r>
          </a:p>
          <a:p>
            <a:r>
              <a:rPr lang="en-GB" dirty="0"/>
              <a:t>Contract W propagator to a point effectively</a:t>
            </a:r>
          </a:p>
          <a:p>
            <a:r>
              <a:rPr lang="en-GB" dirty="0"/>
              <a:t>Why two effective field theories? Local correlators are easier on the lattice</a:t>
            </a:r>
          </a:p>
          <a:p>
            <a:endParaRPr lang="en-GB" dirty="0"/>
          </a:p>
          <a:p>
            <a:r>
              <a:rPr lang="en-GB" dirty="0"/>
              <a:t>Step 1: integrate out W, Higgs, top; leads to DB1 theory. Problem: cannot calculate non-local matrix element non-perturbatively easily. Need a second EFT</a:t>
            </a:r>
          </a:p>
          <a:p>
            <a:r>
              <a:rPr lang="en-GB" dirty="0"/>
              <a:t>Step 2: calculate DB1 amplitude in terms of renormalised DB2 matrix elements. For this purpose we also need to calculate the DB2 amplitude. This process is called matching</a:t>
            </a:r>
          </a:p>
          <a:p>
            <a:endParaRPr lang="en-GB" dirty="0"/>
          </a:p>
          <a:p>
            <a:r>
              <a:rPr lang="en-GB" dirty="0"/>
              <a:t>Maybe split into several slides, first one should be overview of steps, possibly a table where the rows are 1) SM, 2) DB1 theory 3) DB2 theory? Columns are diagram and </a:t>
            </a:r>
            <a:r>
              <a:rPr lang="en-GB"/>
              <a:t>short description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D601724-35E3-4B40-B93F-B7E192B7FF5D}" type="slidenum">
              <a:rPr lang="en-US" smtClean="0"/>
              <a:pPr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0501524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84150" y="498475"/>
            <a:ext cx="6589713" cy="37084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D601724-35E3-4B40-B93F-B7E192B7FF5D}" type="slidenum">
              <a:rPr lang="en-US" smtClean="0"/>
              <a:pPr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5455517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84150" y="498475"/>
            <a:ext cx="6589713" cy="37084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D601724-35E3-4B40-B93F-B7E192B7FF5D}" type="slidenum">
              <a:rPr lang="en-US" smtClean="0"/>
              <a:pPr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7972992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84150" y="498475"/>
            <a:ext cx="6589713" cy="37084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D601724-35E3-4B40-B93F-B7E192B7FF5D}" type="slidenum">
              <a:rPr lang="en-US" smtClean="0"/>
              <a:pPr/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3468983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84150" y="498475"/>
            <a:ext cx="6589713" cy="37084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Higher orders in OS get bigger and bigger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D601724-35E3-4B40-B93F-B7E192B7FF5D}" type="slidenum">
              <a:rPr lang="en-US" smtClean="0"/>
              <a:pPr/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3877614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s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feld 5">
            <a:extLst>
              <a:ext uri="{FF2B5EF4-FFF2-40B4-BE49-F238E27FC236}">
                <a16:creationId xmlns:a16="http://schemas.microsoft.com/office/drawing/2014/main" id="{A60EB3CE-8FA7-6B59-50FD-F65D29AB3304}"/>
              </a:ext>
            </a:extLst>
          </p:cNvPr>
          <p:cNvSpPr txBox="1">
            <a:spLocks/>
          </p:cNvSpPr>
          <p:nvPr userDrawn="1"/>
        </p:nvSpPr>
        <p:spPr bwMode="gray">
          <a:xfrm>
            <a:off x="1234988" y="1592263"/>
            <a:ext cx="10585538" cy="3457574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indent="0" algn="l" defTabSz="914347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SzPct val="90000"/>
              <a:buFont typeface="Wingdings" panose="05000000000000000000" pitchFamily="2" charset="2"/>
              <a:buNone/>
            </a:pPr>
            <a:r>
              <a:rPr lang="en-US" sz="12000" b="1" dirty="0">
                <a:solidFill>
                  <a:schemeClr val="bg1"/>
                </a:solidFill>
              </a:rPr>
              <a:t>Title Slides</a:t>
            </a:r>
          </a:p>
        </p:txBody>
      </p:sp>
      <p:grpSp>
        <p:nvGrpSpPr>
          <p:cNvPr id="8" name="Gruppieren 7">
            <a:extLst>
              <a:ext uri="{FF2B5EF4-FFF2-40B4-BE49-F238E27FC236}">
                <a16:creationId xmlns:a16="http://schemas.microsoft.com/office/drawing/2014/main" id="{C9806C6D-0905-EEEA-0B68-C996F2964FF2}"/>
              </a:ext>
            </a:extLst>
          </p:cNvPr>
          <p:cNvGrpSpPr/>
          <p:nvPr userDrawn="1"/>
        </p:nvGrpSpPr>
        <p:grpSpPr>
          <a:xfrm>
            <a:off x="9749847" y="2816226"/>
            <a:ext cx="1207276" cy="1009648"/>
            <a:chOff x="9336214" y="2528900"/>
            <a:chExt cx="1980368" cy="1656188"/>
          </a:xfrm>
        </p:grpSpPr>
        <p:cxnSp>
          <p:nvCxnSpPr>
            <p:cNvPr id="4" name="Gerader Verbinder 3">
              <a:extLst>
                <a:ext uri="{FF2B5EF4-FFF2-40B4-BE49-F238E27FC236}">
                  <a16:creationId xmlns:a16="http://schemas.microsoft.com/office/drawing/2014/main" id="{5E157EA1-ECC1-A9AA-1AF8-CA75A4644506}"/>
                </a:ext>
              </a:extLst>
            </p:cNvPr>
            <p:cNvCxnSpPr>
              <a:cxnSpLocks/>
            </p:cNvCxnSpPr>
            <p:nvPr userDrawn="1"/>
          </p:nvCxnSpPr>
          <p:spPr bwMode="gray">
            <a:xfrm>
              <a:off x="9336214" y="3356994"/>
              <a:ext cx="1980368" cy="0"/>
            </a:xfrm>
            <a:prstGeom prst="line">
              <a:avLst/>
            </a:prstGeom>
            <a:ln w="1524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" name="Raute 4">
              <a:extLst>
                <a:ext uri="{FF2B5EF4-FFF2-40B4-BE49-F238E27FC236}">
                  <a16:creationId xmlns:a16="http://schemas.microsoft.com/office/drawing/2014/main" id="{FDC88BE7-F254-7F88-E4BE-4948376941CA}"/>
                </a:ext>
              </a:extLst>
            </p:cNvPr>
            <p:cNvSpPr/>
            <p:nvPr userDrawn="1"/>
          </p:nvSpPr>
          <p:spPr bwMode="gray">
            <a:xfrm>
              <a:off x="10488488" y="2528900"/>
              <a:ext cx="828094" cy="1656188"/>
            </a:xfrm>
            <a:custGeom>
              <a:avLst/>
              <a:gdLst>
                <a:gd name="connsiteX0" fmla="*/ 0 w 648072"/>
                <a:gd name="connsiteY0" fmla="*/ 324036 h 648072"/>
                <a:gd name="connsiteX1" fmla="*/ 324036 w 648072"/>
                <a:gd name="connsiteY1" fmla="*/ 0 h 648072"/>
                <a:gd name="connsiteX2" fmla="*/ 648072 w 648072"/>
                <a:gd name="connsiteY2" fmla="*/ 324036 h 648072"/>
                <a:gd name="connsiteX3" fmla="*/ 324036 w 648072"/>
                <a:gd name="connsiteY3" fmla="*/ 648072 h 648072"/>
                <a:gd name="connsiteX4" fmla="*/ 0 w 648072"/>
                <a:gd name="connsiteY4" fmla="*/ 324036 h 648072"/>
                <a:gd name="connsiteX0" fmla="*/ 0 w 648072"/>
                <a:gd name="connsiteY0" fmla="*/ 324036 h 648072"/>
                <a:gd name="connsiteX1" fmla="*/ 324036 w 648072"/>
                <a:gd name="connsiteY1" fmla="*/ 0 h 648072"/>
                <a:gd name="connsiteX2" fmla="*/ 648072 w 648072"/>
                <a:gd name="connsiteY2" fmla="*/ 324036 h 648072"/>
                <a:gd name="connsiteX3" fmla="*/ 324036 w 648072"/>
                <a:gd name="connsiteY3" fmla="*/ 648072 h 648072"/>
                <a:gd name="connsiteX4" fmla="*/ 91440 w 648072"/>
                <a:gd name="connsiteY4" fmla="*/ 415476 h 648072"/>
                <a:gd name="connsiteX0" fmla="*/ 0 w 648072"/>
                <a:gd name="connsiteY0" fmla="*/ 324036 h 648072"/>
                <a:gd name="connsiteX1" fmla="*/ 324036 w 648072"/>
                <a:gd name="connsiteY1" fmla="*/ 0 h 648072"/>
                <a:gd name="connsiteX2" fmla="*/ 648072 w 648072"/>
                <a:gd name="connsiteY2" fmla="*/ 324036 h 648072"/>
                <a:gd name="connsiteX3" fmla="*/ 324036 w 648072"/>
                <a:gd name="connsiteY3" fmla="*/ 648072 h 648072"/>
                <a:gd name="connsiteX0" fmla="*/ 0 w 324036"/>
                <a:gd name="connsiteY0" fmla="*/ 0 h 648072"/>
                <a:gd name="connsiteX1" fmla="*/ 324036 w 324036"/>
                <a:gd name="connsiteY1" fmla="*/ 324036 h 648072"/>
                <a:gd name="connsiteX2" fmla="*/ 0 w 324036"/>
                <a:gd name="connsiteY2" fmla="*/ 648072 h 6480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24036" h="648072">
                  <a:moveTo>
                    <a:pt x="0" y="0"/>
                  </a:moveTo>
                  <a:lnTo>
                    <a:pt x="324036" y="324036"/>
                  </a:lnTo>
                  <a:lnTo>
                    <a:pt x="0" y="648072"/>
                  </a:lnTo>
                </a:path>
              </a:pathLst>
            </a:custGeom>
            <a:noFill/>
            <a:ln w="152400">
              <a:solidFill>
                <a:schemeClr val="bg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144000" tIns="144000" rIns="144000" bIns="144000" rtlCol="0" anchor="ctr"/>
            <a:lstStyle/>
            <a:p>
              <a:pPr algn="ctr"/>
              <a:endParaRPr lang="en-US" sz="1400" b="1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52424673"/>
      </p:ext>
    </p:extLst>
  </p:cSld>
  <p:clrMapOvr>
    <a:masterClrMapping/>
  </p:clrMapOvr>
  <p:transition>
    <p:fad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two-column blu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hteck 10">
            <a:extLst>
              <a:ext uri="{FF2B5EF4-FFF2-40B4-BE49-F238E27FC236}">
                <a16:creationId xmlns:a16="http://schemas.microsoft.com/office/drawing/2014/main" id="{CD1E56A9-7120-0C1B-1DFE-FB4F2B9F90B7}"/>
              </a:ext>
            </a:extLst>
          </p:cNvPr>
          <p:cNvSpPr/>
          <p:nvPr userDrawn="1"/>
        </p:nvSpPr>
        <p:spPr bwMode="gray">
          <a:xfrm>
            <a:off x="10091738" y="0"/>
            <a:ext cx="2100262" cy="6857999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CAF5B4F9-46BC-DCE2-AB96-AC7CB76E8AD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371475" y="368659"/>
            <a:ext cx="1728788" cy="1007704"/>
          </a:xfrm>
        </p:spPr>
        <p:txBody>
          <a:bodyPr tIns="252000"/>
          <a:lstStyle>
            <a:lvl1pPr>
              <a:defRPr sz="21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ontent</a:t>
            </a:r>
          </a:p>
        </p:txBody>
      </p:sp>
      <p:sp>
        <p:nvSpPr>
          <p:cNvPr id="3" name="Datumsplatzhalter 3">
            <a:extLst>
              <a:ext uri="{FF2B5EF4-FFF2-40B4-BE49-F238E27FC236}">
                <a16:creationId xmlns:a16="http://schemas.microsoft.com/office/drawing/2014/main" id="{7AE8D194-9EDA-738A-DC32-F2142FF7C4E0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gray">
          <a:xfrm>
            <a:off x="0" y="6858000"/>
            <a:ext cx="0" cy="0"/>
          </a:xfrm>
          <a:prstGeom prst="rect">
            <a:avLst/>
          </a:prstGeom>
        </p:spPr>
        <p:txBody>
          <a:bodyPr wrap="none">
            <a:normAutofit/>
          </a:bodyPr>
          <a:lstStyle>
            <a:lvl1pPr>
              <a:defRPr>
                <a:noFill/>
              </a:defRPr>
            </a:lvl1pPr>
          </a:lstStyle>
          <a:p>
            <a:fld id="{41590941-2AFE-4A5C-AA06-E5BDF2C4575F}" type="datetime3">
              <a:rPr lang="de-DE" smtClean="0"/>
              <a:t>01/07/2025</a:t>
            </a:fld>
            <a:endParaRPr lang="en-US" dirty="0"/>
          </a:p>
        </p:txBody>
      </p:sp>
      <p:sp>
        <p:nvSpPr>
          <p:cNvPr id="4" name="Fußzeilenplatzhalter 4">
            <a:extLst>
              <a:ext uri="{FF2B5EF4-FFF2-40B4-BE49-F238E27FC236}">
                <a16:creationId xmlns:a16="http://schemas.microsoft.com/office/drawing/2014/main" id="{05649568-1C2D-B202-63ED-CEE7405FD18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>
          <a:xfrm>
            <a:off x="0" y="6858000"/>
            <a:ext cx="0" cy="0"/>
          </a:xfrm>
        </p:spPr>
        <p:txBody>
          <a:bodyPr wrap="none">
            <a:normAutofit/>
          </a:bodyPr>
          <a:lstStyle>
            <a:lvl1pPr>
              <a:defRPr sz="100">
                <a:noFill/>
              </a:defRPr>
            </a:lvl1pPr>
          </a:lstStyle>
          <a:p>
            <a:r>
              <a:rPr lang="en-US"/>
              <a:t>Name - Title of Presentation</a:t>
            </a:r>
            <a:endParaRPr lang="en-US" dirty="0"/>
          </a:p>
        </p:txBody>
      </p:sp>
      <p:sp>
        <p:nvSpPr>
          <p:cNvPr id="5" name="Foliennummernplatzhalter 5">
            <a:extLst>
              <a:ext uri="{FF2B5EF4-FFF2-40B4-BE49-F238E27FC236}">
                <a16:creationId xmlns:a16="http://schemas.microsoft.com/office/drawing/2014/main" id="{39B9F8B5-CDA2-B101-8FD8-AD3CDBA0C0D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>
          <a:xfrm>
            <a:off x="0" y="6858000"/>
            <a:ext cx="0" cy="0"/>
          </a:xfrm>
        </p:spPr>
        <p:txBody>
          <a:bodyPr wrap="none">
            <a:normAutofit/>
          </a:bodyPr>
          <a:lstStyle>
            <a:lvl1pPr>
              <a:defRPr sz="100">
                <a:noFill/>
              </a:defRPr>
            </a:lvl1pPr>
          </a:lstStyle>
          <a:p>
            <a:fld id="{776FC98F-84AD-404B-BCCB-49E092AA6DE0}" type="slidenum">
              <a:rPr lang="en-US" smtClean="0"/>
              <a:pPr/>
              <a:t>‹#›</a:t>
            </a:fld>
            <a:endParaRPr lang="en-US" dirty="0"/>
          </a:p>
        </p:txBody>
      </p:sp>
      <p:grpSp>
        <p:nvGrpSpPr>
          <p:cNvPr id="12" name="Gruppieren 8">
            <a:extLst>
              <a:ext uri="{FF2B5EF4-FFF2-40B4-BE49-F238E27FC236}">
                <a16:creationId xmlns:a16="http://schemas.microsoft.com/office/drawing/2014/main" id="{A6AB963E-1F0D-866D-E3FB-95098EBB08C9}"/>
              </a:ext>
            </a:extLst>
          </p:cNvPr>
          <p:cNvGrpSpPr>
            <a:grpSpLocks/>
          </p:cNvGrpSpPr>
          <p:nvPr userDrawn="1"/>
        </p:nvGrpSpPr>
        <p:grpSpPr bwMode="gray">
          <a:xfrm>
            <a:off x="10710878" y="368659"/>
            <a:ext cx="861983" cy="309203"/>
            <a:chOff x="11189494" y="381000"/>
            <a:chExt cx="621506" cy="222941"/>
          </a:xfrm>
          <a:solidFill>
            <a:schemeClr val="bg1"/>
          </a:solidFill>
        </p:grpSpPr>
        <p:sp>
          <p:nvSpPr>
            <p:cNvPr id="13" name="Freihandform: Form 9">
              <a:extLst>
                <a:ext uri="{FF2B5EF4-FFF2-40B4-BE49-F238E27FC236}">
                  <a16:creationId xmlns:a16="http://schemas.microsoft.com/office/drawing/2014/main" id="{7F437339-9972-1104-C84E-3425CA29FA15}"/>
                </a:ext>
              </a:extLst>
            </p:cNvPr>
            <p:cNvSpPr/>
            <p:nvPr/>
          </p:nvSpPr>
          <p:spPr bwMode="gray">
            <a:xfrm>
              <a:off x="11360511" y="381000"/>
              <a:ext cx="450489" cy="222941"/>
            </a:xfrm>
            <a:custGeom>
              <a:avLst/>
              <a:gdLst>
                <a:gd name="connsiteX0" fmla="*/ 303449 w 450489"/>
                <a:gd name="connsiteY0" fmla="*/ 222 h 222941"/>
                <a:gd name="connsiteX1" fmla="*/ 450489 w 450489"/>
                <a:gd name="connsiteY1" fmla="*/ 222 h 222941"/>
                <a:gd name="connsiteX2" fmla="*/ 450489 w 450489"/>
                <a:gd name="connsiteY2" fmla="*/ 50305 h 222941"/>
                <a:gd name="connsiteX3" fmla="*/ 407489 w 450489"/>
                <a:gd name="connsiteY3" fmla="*/ 50305 h 222941"/>
                <a:gd name="connsiteX4" fmla="*/ 407489 w 450489"/>
                <a:gd name="connsiteY4" fmla="*/ 222941 h 222941"/>
                <a:gd name="connsiteX5" fmla="*/ 346449 w 450489"/>
                <a:gd name="connsiteY5" fmla="*/ 222941 h 222941"/>
                <a:gd name="connsiteX6" fmla="*/ 346449 w 450489"/>
                <a:gd name="connsiteY6" fmla="*/ 50305 h 222941"/>
                <a:gd name="connsiteX7" fmla="*/ 303449 w 450489"/>
                <a:gd name="connsiteY7" fmla="*/ 50305 h 222941"/>
                <a:gd name="connsiteX8" fmla="*/ 227770 w 450489"/>
                <a:gd name="connsiteY8" fmla="*/ 222 h 222941"/>
                <a:gd name="connsiteX9" fmla="*/ 288808 w 450489"/>
                <a:gd name="connsiteY9" fmla="*/ 222 h 222941"/>
                <a:gd name="connsiteX10" fmla="*/ 288808 w 450489"/>
                <a:gd name="connsiteY10" fmla="*/ 222719 h 222941"/>
                <a:gd name="connsiteX11" fmla="*/ 227770 w 450489"/>
                <a:gd name="connsiteY11" fmla="*/ 222719 h 222941"/>
                <a:gd name="connsiteX12" fmla="*/ 52591 w 450489"/>
                <a:gd name="connsiteY12" fmla="*/ 222 h 222941"/>
                <a:gd name="connsiteX13" fmla="*/ 54433 w 450489"/>
                <a:gd name="connsiteY13" fmla="*/ 222 h 222941"/>
                <a:gd name="connsiteX14" fmla="*/ 54211 w 450489"/>
                <a:gd name="connsiteY14" fmla="*/ 222719 h 222941"/>
                <a:gd name="connsiteX15" fmla="*/ 54179 w 450489"/>
                <a:gd name="connsiteY15" fmla="*/ 222719 h 222941"/>
                <a:gd name="connsiteX16" fmla="*/ 0 w 450489"/>
                <a:gd name="connsiteY16" fmla="*/ 6637 h 222941"/>
                <a:gd name="connsiteX17" fmla="*/ 52591 w 450489"/>
                <a:gd name="connsiteY17" fmla="*/ 222 h 222941"/>
                <a:gd name="connsiteX18" fmla="*/ 147041 w 450489"/>
                <a:gd name="connsiteY18" fmla="*/ 0 h 222941"/>
                <a:gd name="connsiteX19" fmla="*/ 217003 w 450489"/>
                <a:gd name="connsiteY19" fmla="*/ 0 h 222941"/>
                <a:gd name="connsiteX20" fmla="*/ 126906 w 450489"/>
                <a:gd name="connsiteY20" fmla="*/ 112042 h 222941"/>
                <a:gd name="connsiteX21" fmla="*/ 217448 w 450489"/>
                <a:gd name="connsiteY21" fmla="*/ 222719 h 222941"/>
                <a:gd name="connsiteX22" fmla="*/ 149581 w 450489"/>
                <a:gd name="connsiteY22" fmla="*/ 222719 h 222941"/>
                <a:gd name="connsiteX23" fmla="*/ 68852 w 450489"/>
                <a:gd name="connsiteY23" fmla="*/ 136051 h 222941"/>
                <a:gd name="connsiteX24" fmla="*/ 68852 w 450489"/>
                <a:gd name="connsiteY24" fmla="*/ 86446 h 2229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450489" h="222941">
                  <a:moveTo>
                    <a:pt x="303449" y="222"/>
                  </a:moveTo>
                  <a:lnTo>
                    <a:pt x="450489" y="222"/>
                  </a:lnTo>
                  <a:lnTo>
                    <a:pt x="450489" y="50305"/>
                  </a:lnTo>
                  <a:lnTo>
                    <a:pt x="407489" y="50305"/>
                  </a:lnTo>
                  <a:lnTo>
                    <a:pt x="407489" y="222941"/>
                  </a:lnTo>
                  <a:lnTo>
                    <a:pt x="346449" y="222941"/>
                  </a:lnTo>
                  <a:lnTo>
                    <a:pt x="346449" y="50305"/>
                  </a:lnTo>
                  <a:lnTo>
                    <a:pt x="303449" y="50305"/>
                  </a:lnTo>
                  <a:close/>
                  <a:moveTo>
                    <a:pt x="227770" y="222"/>
                  </a:moveTo>
                  <a:lnTo>
                    <a:pt x="288808" y="222"/>
                  </a:lnTo>
                  <a:lnTo>
                    <a:pt x="288808" y="222719"/>
                  </a:lnTo>
                  <a:lnTo>
                    <a:pt x="227770" y="222719"/>
                  </a:lnTo>
                  <a:close/>
                  <a:moveTo>
                    <a:pt x="52591" y="222"/>
                  </a:moveTo>
                  <a:lnTo>
                    <a:pt x="54433" y="222"/>
                  </a:lnTo>
                  <a:lnTo>
                    <a:pt x="54211" y="222719"/>
                  </a:lnTo>
                  <a:lnTo>
                    <a:pt x="54179" y="222719"/>
                  </a:lnTo>
                  <a:lnTo>
                    <a:pt x="0" y="6637"/>
                  </a:lnTo>
                  <a:cubicBezTo>
                    <a:pt x="16927" y="2509"/>
                    <a:pt x="34521" y="222"/>
                    <a:pt x="52591" y="222"/>
                  </a:cubicBezTo>
                  <a:close/>
                  <a:moveTo>
                    <a:pt x="147041" y="0"/>
                  </a:moveTo>
                  <a:lnTo>
                    <a:pt x="217003" y="0"/>
                  </a:lnTo>
                  <a:lnTo>
                    <a:pt x="126906" y="112042"/>
                  </a:lnTo>
                  <a:lnTo>
                    <a:pt x="217448" y="222719"/>
                  </a:lnTo>
                  <a:lnTo>
                    <a:pt x="149581" y="222719"/>
                  </a:lnTo>
                  <a:lnTo>
                    <a:pt x="68852" y="136051"/>
                  </a:lnTo>
                  <a:lnTo>
                    <a:pt x="68852" y="8644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4" name="Freihandform: Form 10">
              <a:extLst>
                <a:ext uri="{FF2B5EF4-FFF2-40B4-BE49-F238E27FC236}">
                  <a16:creationId xmlns:a16="http://schemas.microsoft.com/office/drawing/2014/main" id="{E8490089-7E0F-697B-8A21-B674E637433E}"/>
                </a:ext>
              </a:extLst>
            </p:cNvPr>
            <p:cNvSpPr/>
            <p:nvPr/>
          </p:nvSpPr>
          <p:spPr bwMode="gray">
            <a:xfrm>
              <a:off x="11189494" y="401800"/>
              <a:ext cx="225229" cy="201918"/>
            </a:xfrm>
            <a:custGeom>
              <a:avLst/>
              <a:gdLst>
                <a:gd name="connsiteX0" fmla="*/ 225193 w 225229"/>
                <a:gd name="connsiteY0" fmla="*/ 201842 h 201918"/>
                <a:gd name="connsiteX1" fmla="*/ 225228 w 225229"/>
                <a:gd name="connsiteY1" fmla="*/ 201885 h 201918"/>
                <a:gd name="connsiteX2" fmla="*/ 225228 w 225229"/>
                <a:gd name="connsiteY2" fmla="*/ 201917 h 201918"/>
                <a:gd name="connsiteX3" fmla="*/ 7082 w 225229"/>
                <a:gd name="connsiteY3" fmla="*/ 147485 h 201918"/>
                <a:gd name="connsiteX4" fmla="*/ 225228 w 225229"/>
                <a:gd name="connsiteY4" fmla="*/ 201918 h 201918"/>
                <a:gd name="connsiteX5" fmla="*/ 0 w 225229"/>
                <a:gd name="connsiteY5" fmla="*/ 201918 h 201918"/>
                <a:gd name="connsiteX6" fmla="*/ 7082 w 225229"/>
                <a:gd name="connsiteY6" fmla="*/ 147485 h 201918"/>
                <a:gd name="connsiteX7" fmla="*/ 51226 w 225229"/>
                <a:gd name="connsiteY7" fmla="*/ 60817 h 201918"/>
                <a:gd name="connsiteX8" fmla="*/ 225229 w 225229"/>
                <a:gd name="connsiteY8" fmla="*/ 201918 h 201918"/>
                <a:gd name="connsiteX9" fmla="*/ 21723 w 225229"/>
                <a:gd name="connsiteY9" fmla="*/ 107247 h 201918"/>
                <a:gd name="connsiteX10" fmla="*/ 51226 w 225229"/>
                <a:gd name="connsiteY10" fmla="*/ 60817 h 201918"/>
                <a:gd name="connsiteX11" fmla="*/ 130335 w 225229"/>
                <a:gd name="connsiteY11" fmla="*/ 0 h 201918"/>
                <a:gd name="connsiteX12" fmla="*/ 225193 w 225229"/>
                <a:gd name="connsiteY12" fmla="*/ 201842 h 201918"/>
                <a:gd name="connsiteX13" fmla="*/ 83682 w 225229"/>
                <a:gd name="connsiteY13" fmla="*/ 28805 h 201918"/>
                <a:gd name="connsiteX14" fmla="*/ 130335 w 225229"/>
                <a:gd name="connsiteY14" fmla="*/ 0 h 2019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25229" h="201918">
                  <a:moveTo>
                    <a:pt x="225193" y="201842"/>
                  </a:moveTo>
                  <a:lnTo>
                    <a:pt x="225228" y="201885"/>
                  </a:lnTo>
                  <a:lnTo>
                    <a:pt x="225228" y="201917"/>
                  </a:lnTo>
                  <a:close/>
                  <a:moveTo>
                    <a:pt x="7082" y="147485"/>
                  </a:moveTo>
                  <a:lnTo>
                    <a:pt x="225228" y="201918"/>
                  </a:lnTo>
                  <a:lnTo>
                    <a:pt x="0" y="201918"/>
                  </a:lnTo>
                  <a:cubicBezTo>
                    <a:pt x="222" y="183149"/>
                    <a:pt x="2509" y="164857"/>
                    <a:pt x="7082" y="147485"/>
                  </a:cubicBezTo>
                  <a:close/>
                  <a:moveTo>
                    <a:pt x="51226" y="60817"/>
                  </a:moveTo>
                  <a:lnTo>
                    <a:pt x="225229" y="201918"/>
                  </a:lnTo>
                  <a:lnTo>
                    <a:pt x="21723" y="107247"/>
                  </a:lnTo>
                  <a:cubicBezTo>
                    <a:pt x="29504" y="90543"/>
                    <a:pt x="39571" y="74981"/>
                    <a:pt x="51226" y="60817"/>
                  </a:cubicBezTo>
                  <a:close/>
                  <a:moveTo>
                    <a:pt x="130335" y="0"/>
                  </a:moveTo>
                  <a:lnTo>
                    <a:pt x="225193" y="201842"/>
                  </a:lnTo>
                  <a:lnTo>
                    <a:pt x="83682" y="28805"/>
                  </a:lnTo>
                  <a:cubicBezTo>
                    <a:pt x="97878" y="17372"/>
                    <a:pt x="113408" y="7781"/>
                    <a:pt x="130335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1FB31B9B-7A37-361D-F7F6-4E6344A8A45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black">
          <a:xfrm>
            <a:off x="2316163" y="368300"/>
            <a:ext cx="6588125" cy="4681538"/>
          </a:xfrm>
        </p:spPr>
        <p:txBody>
          <a:bodyPr tIns="252000"/>
          <a:lstStyle>
            <a:lvl1pPr marL="540000" indent="-540000">
              <a:lnSpc>
                <a:spcPct val="85000"/>
              </a:lnSpc>
              <a:spcBef>
                <a:spcPts val="1800"/>
              </a:spcBef>
              <a:spcAft>
                <a:spcPts val="600"/>
              </a:spcAft>
              <a:buClr>
                <a:schemeClr val="bg1"/>
              </a:buClr>
              <a:buFont typeface="+mj-lt"/>
              <a:buAutoNum type="arabicPeriod"/>
              <a:defRPr sz="3500">
                <a:solidFill>
                  <a:schemeClr val="accent1">
                    <a:lumMod val="20000"/>
                    <a:lumOff val="80000"/>
                  </a:schemeClr>
                </a:solidFill>
                <a:latin typeface="+mj-lt"/>
              </a:defRPr>
            </a:lvl1pPr>
            <a:lvl2pPr marL="808038" indent="-268288">
              <a:lnSpc>
                <a:spcPct val="100000"/>
              </a:lnSpc>
              <a:spcBef>
                <a:spcPts val="200"/>
              </a:spcBef>
              <a:spcAft>
                <a:spcPts val="400"/>
              </a:spcAft>
              <a:buClr>
                <a:schemeClr val="bg1"/>
              </a:buClr>
              <a:defRPr sz="1600">
                <a:solidFill>
                  <a:schemeClr val="bg1"/>
                </a:solidFill>
              </a:defRPr>
            </a:lvl2pPr>
            <a:lvl3pPr marL="808038" indent="-268288">
              <a:lnSpc>
                <a:spcPct val="100000"/>
              </a:lnSpc>
              <a:spcBef>
                <a:spcPts val="200"/>
              </a:spcBef>
              <a:spcAft>
                <a:spcPts val="400"/>
              </a:spcAft>
              <a:buClr>
                <a:schemeClr val="bg1"/>
              </a:buClr>
              <a:buFont typeface="+mj-lt"/>
              <a:buAutoNum type="alphaLcPeriod"/>
              <a:defRPr sz="1600">
                <a:solidFill>
                  <a:schemeClr val="bg1"/>
                </a:solidFill>
              </a:defRPr>
            </a:lvl3pPr>
            <a:lvl4pPr marL="540000" indent="0">
              <a:lnSpc>
                <a:spcPct val="100000"/>
              </a:lnSpc>
              <a:spcBef>
                <a:spcPts val="200"/>
              </a:spcBef>
              <a:spcAft>
                <a:spcPts val="400"/>
              </a:spcAft>
              <a:buNone/>
              <a:defRPr sz="1600" b="0">
                <a:solidFill>
                  <a:schemeClr val="bg1"/>
                </a:solidFill>
              </a:defRPr>
            </a:lvl4pPr>
            <a:lvl5pPr marL="540000" indent="0">
              <a:lnSpc>
                <a:spcPct val="100000"/>
              </a:lnSpc>
              <a:spcBef>
                <a:spcPts val="20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b="0">
                <a:solidFill>
                  <a:schemeClr val="bg1"/>
                </a:solidFill>
              </a:defRPr>
            </a:lvl5pPr>
            <a:lvl6pPr marL="540000" indent="0">
              <a:lnSpc>
                <a:spcPct val="100000"/>
              </a:lnSpc>
              <a:spcBef>
                <a:spcPts val="200"/>
              </a:spcBef>
              <a:spcAft>
                <a:spcPts val="400"/>
              </a:spcAft>
              <a:defRPr sz="1600" b="0">
                <a:solidFill>
                  <a:schemeClr val="bg1"/>
                </a:solidFill>
              </a:defRPr>
            </a:lvl6pPr>
            <a:lvl7pPr marL="540000" indent="0">
              <a:lnSpc>
                <a:spcPct val="100000"/>
              </a:lnSpc>
              <a:spcBef>
                <a:spcPts val="200"/>
              </a:spcBef>
              <a:spcAft>
                <a:spcPts val="400"/>
              </a:spcAft>
              <a:defRPr sz="1600" b="0">
                <a:solidFill>
                  <a:schemeClr val="bg1"/>
                </a:solidFill>
              </a:defRPr>
            </a:lvl7pPr>
            <a:lvl8pPr marL="540000" indent="0">
              <a:lnSpc>
                <a:spcPct val="100000"/>
              </a:lnSpc>
              <a:spcBef>
                <a:spcPts val="200"/>
              </a:spcBef>
              <a:spcAft>
                <a:spcPts val="400"/>
              </a:spcAft>
              <a:defRPr sz="1600" b="0">
                <a:solidFill>
                  <a:schemeClr val="bg1"/>
                </a:solidFill>
              </a:defRPr>
            </a:lvl8pPr>
            <a:lvl9pPr marL="540000" indent="0">
              <a:lnSpc>
                <a:spcPct val="100000"/>
              </a:lnSpc>
              <a:spcBef>
                <a:spcPts val="200"/>
              </a:spcBef>
              <a:spcAft>
                <a:spcPts val="400"/>
              </a:spcAft>
              <a:defRPr sz="1800" b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Add text</a:t>
            </a:r>
          </a:p>
        </p:txBody>
      </p:sp>
    </p:spTree>
    <p:extLst>
      <p:ext uri="{BB962C8B-B14F-4D97-AF65-F5344CB8AC3E}">
        <p14:creationId xmlns:p14="http://schemas.microsoft.com/office/powerpoint/2010/main" val="1801184367"/>
      </p:ext>
    </p:extLst>
  </p:cSld>
  <p:clrMapOvr>
    <a:masterClrMapping/>
  </p:clrMapOvr>
  <p:transition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feld 5">
            <a:extLst>
              <a:ext uri="{FF2B5EF4-FFF2-40B4-BE49-F238E27FC236}">
                <a16:creationId xmlns:a16="http://schemas.microsoft.com/office/drawing/2014/main" id="{A60EB3CE-8FA7-6B59-50FD-F65D29AB3304}"/>
              </a:ext>
            </a:extLst>
          </p:cNvPr>
          <p:cNvSpPr txBox="1">
            <a:spLocks/>
          </p:cNvSpPr>
          <p:nvPr userDrawn="1"/>
        </p:nvSpPr>
        <p:spPr bwMode="gray">
          <a:xfrm>
            <a:off x="1234988" y="1592263"/>
            <a:ext cx="10585538" cy="3457574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indent="0" algn="l" defTabSz="914347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SzPct val="90000"/>
              <a:buFont typeface="Wingdings" panose="05000000000000000000" pitchFamily="2" charset="2"/>
              <a:buNone/>
            </a:pPr>
            <a:r>
              <a:rPr lang="en-US" sz="12000" b="1" dirty="0">
                <a:solidFill>
                  <a:schemeClr val="bg1"/>
                </a:solidFill>
              </a:rPr>
              <a:t>Divider</a:t>
            </a:r>
          </a:p>
        </p:txBody>
      </p:sp>
      <p:grpSp>
        <p:nvGrpSpPr>
          <p:cNvPr id="5" name="Gruppieren 4">
            <a:extLst>
              <a:ext uri="{FF2B5EF4-FFF2-40B4-BE49-F238E27FC236}">
                <a16:creationId xmlns:a16="http://schemas.microsoft.com/office/drawing/2014/main" id="{583ADA49-B8A9-2D5D-A571-94E5F1DD0F54}"/>
              </a:ext>
            </a:extLst>
          </p:cNvPr>
          <p:cNvGrpSpPr/>
          <p:nvPr userDrawn="1"/>
        </p:nvGrpSpPr>
        <p:grpSpPr>
          <a:xfrm>
            <a:off x="9749847" y="2816226"/>
            <a:ext cx="1207276" cy="1009648"/>
            <a:chOff x="9336214" y="2528900"/>
            <a:chExt cx="1980368" cy="1656188"/>
          </a:xfrm>
        </p:grpSpPr>
        <p:cxnSp>
          <p:nvCxnSpPr>
            <p:cNvPr id="7" name="Gerader Verbinder 6">
              <a:extLst>
                <a:ext uri="{FF2B5EF4-FFF2-40B4-BE49-F238E27FC236}">
                  <a16:creationId xmlns:a16="http://schemas.microsoft.com/office/drawing/2014/main" id="{E2251FA2-90EB-2A45-FC37-A0304FBAD85F}"/>
                </a:ext>
              </a:extLst>
            </p:cNvPr>
            <p:cNvCxnSpPr>
              <a:cxnSpLocks/>
            </p:cNvCxnSpPr>
            <p:nvPr userDrawn="1"/>
          </p:nvCxnSpPr>
          <p:spPr bwMode="gray">
            <a:xfrm>
              <a:off x="9336214" y="3356994"/>
              <a:ext cx="1980368" cy="0"/>
            </a:xfrm>
            <a:prstGeom prst="line">
              <a:avLst/>
            </a:prstGeom>
            <a:ln w="1524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" name="Raute 4">
              <a:extLst>
                <a:ext uri="{FF2B5EF4-FFF2-40B4-BE49-F238E27FC236}">
                  <a16:creationId xmlns:a16="http://schemas.microsoft.com/office/drawing/2014/main" id="{61D9F5AD-F0AD-2CAA-880D-C238F5A4CFA7}"/>
                </a:ext>
              </a:extLst>
            </p:cNvPr>
            <p:cNvSpPr/>
            <p:nvPr userDrawn="1"/>
          </p:nvSpPr>
          <p:spPr bwMode="gray">
            <a:xfrm>
              <a:off x="10488488" y="2528900"/>
              <a:ext cx="828094" cy="1656188"/>
            </a:xfrm>
            <a:custGeom>
              <a:avLst/>
              <a:gdLst>
                <a:gd name="connsiteX0" fmla="*/ 0 w 648072"/>
                <a:gd name="connsiteY0" fmla="*/ 324036 h 648072"/>
                <a:gd name="connsiteX1" fmla="*/ 324036 w 648072"/>
                <a:gd name="connsiteY1" fmla="*/ 0 h 648072"/>
                <a:gd name="connsiteX2" fmla="*/ 648072 w 648072"/>
                <a:gd name="connsiteY2" fmla="*/ 324036 h 648072"/>
                <a:gd name="connsiteX3" fmla="*/ 324036 w 648072"/>
                <a:gd name="connsiteY3" fmla="*/ 648072 h 648072"/>
                <a:gd name="connsiteX4" fmla="*/ 0 w 648072"/>
                <a:gd name="connsiteY4" fmla="*/ 324036 h 648072"/>
                <a:gd name="connsiteX0" fmla="*/ 0 w 648072"/>
                <a:gd name="connsiteY0" fmla="*/ 324036 h 648072"/>
                <a:gd name="connsiteX1" fmla="*/ 324036 w 648072"/>
                <a:gd name="connsiteY1" fmla="*/ 0 h 648072"/>
                <a:gd name="connsiteX2" fmla="*/ 648072 w 648072"/>
                <a:gd name="connsiteY2" fmla="*/ 324036 h 648072"/>
                <a:gd name="connsiteX3" fmla="*/ 324036 w 648072"/>
                <a:gd name="connsiteY3" fmla="*/ 648072 h 648072"/>
                <a:gd name="connsiteX4" fmla="*/ 91440 w 648072"/>
                <a:gd name="connsiteY4" fmla="*/ 415476 h 648072"/>
                <a:gd name="connsiteX0" fmla="*/ 0 w 648072"/>
                <a:gd name="connsiteY0" fmla="*/ 324036 h 648072"/>
                <a:gd name="connsiteX1" fmla="*/ 324036 w 648072"/>
                <a:gd name="connsiteY1" fmla="*/ 0 h 648072"/>
                <a:gd name="connsiteX2" fmla="*/ 648072 w 648072"/>
                <a:gd name="connsiteY2" fmla="*/ 324036 h 648072"/>
                <a:gd name="connsiteX3" fmla="*/ 324036 w 648072"/>
                <a:gd name="connsiteY3" fmla="*/ 648072 h 648072"/>
                <a:gd name="connsiteX0" fmla="*/ 0 w 324036"/>
                <a:gd name="connsiteY0" fmla="*/ 0 h 648072"/>
                <a:gd name="connsiteX1" fmla="*/ 324036 w 324036"/>
                <a:gd name="connsiteY1" fmla="*/ 324036 h 648072"/>
                <a:gd name="connsiteX2" fmla="*/ 0 w 324036"/>
                <a:gd name="connsiteY2" fmla="*/ 648072 h 6480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24036" h="648072">
                  <a:moveTo>
                    <a:pt x="0" y="0"/>
                  </a:moveTo>
                  <a:lnTo>
                    <a:pt x="324036" y="324036"/>
                  </a:lnTo>
                  <a:lnTo>
                    <a:pt x="0" y="648072"/>
                  </a:lnTo>
                </a:path>
              </a:pathLst>
            </a:custGeom>
            <a:noFill/>
            <a:ln w="152400">
              <a:solidFill>
                <a:schemeClr val="bg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144000" tIns="144000" rIns="144000" bIns="144000" rtlCol="0" anchor="ctr"/>
            <a:lstStyle/>
            <a:p>
              <a:pPr algn="ctr"/>
              <a:endParaRPr lang="en-US" sz="1400" b="1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315159694"/>
      </p:ext>
    </p:extLst>
  </p:cSld>
  <p:clrMapOvr>
    <a:masterClrMapping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5F49F37-C71A-F97E-E3A7-139DDD7F9D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371475" y="4041774"/>
            <a:ext cx="7561263" cy="2232025"/>
          </a:xfrm>
        </p:spPr>
        <p:txBody>
          <a:bodyPr tIns="72000"/>
          <a:lstStyle>
            <a:lvl1pPr>
              <a:defRPr sz="5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Add Title</a:t>
            </a:r>
          </a:p>
        </p:txBody>
      </p:sp>
      <p:sp>
        <p:nvSpPr>
          <p:cNvPr id="6" name="Datumsplatzhalter 3">
            <a:extLst>
              <a:ext uri="{FF2B5EF4-FFF2-40B4-BE49-F238E27FC236}">
                <a16:creationId xmlns:a16="http://schemas.microsoft.com/office/drawing/2014/main" id="{377F9694-8382-FAAE-BF69-4C4EF7EA399C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gray">
          <a:xfrm>
            <a:off x="0" y="6858000"/>
            <a:ext cx="0" cy="0"/>
          </a:xfrm>
          <a:prstGeom prst="rect">
            <a:avLst/>
          </a:prstGeom>
        </p:spPr>
        <p:txBody>
          <a:bodyPr wrap="none">
            <a:normAutofit/>
          </a:bodyPr>
          <a:lstStyle>
            <a:lvl1pPr>
              <a:defRPr>
                <a:noFill/>
              </a:defRPr>
            </a:lvl1pPr>
          </a:lstStyle>
          <a:p>
            <a:fld id="{1C51A72D-799D-4C24-AD38-13B9E3F86685}" type="datetime3">
              <a:rPr lang="de-DE" smtClean="0"/>
              <a:t>01/07/2025</a:t>
            </a:fld>
            <a:endParaRPr lang="en-US" dirty="0"/>
          </a:p>
        </p:txBody>
      </p:sp>
      <p:sp>
        <p:nvSpPr>
          <p:cNvPr id="7" name="Fußzeilenplatzhalter 4">
            <a:extLst>
              <a:ext uri="{FF2B5EF4-FFF2-40B4-BE49-F238E27FC236}">
                <a16:creationId xmlns:a16="http://schemas.microsoft.com/office/drawing/2014/main" id="{1ACFB753-502E-F3E6-F47F-279E23DC208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>
          <a:xfrm>
            <a:off x="0" y="6858000"/>
            <a:ext cx="0" cy="0"/>
          </a:xfrm>
        </p:spPr>
        <p:txBody>
          <a:bodyPr wrap="none">
            <a:normAutofit/>
          </a:bodyPr>
          <a:lstStyle>
            <a:lvl1pPr>
              <a:defRPr sz="100">
                <a:noFill/>
              </a:defRPr>
            </a:lvl1pPr>
          </a:lstStyle>
          <a:p>
            <a:r>
              <a:rPr lang="en-US"/>
              <a:t>Name - Title of Presentation</a:t>
            </a:r>
            <a:endParaRPr lang="en-US" dirty="0"/>
          </a:p>
        </p:txBody>
      </p:sp>
      <p:sp>
        <p:nvSpPr>
          <p:cNvPr id="8" name="Foliennummernplatzhalter 5">
            <a:extLst>
              <a:ext uri="{FF2B5EF4-FFF2-40B4-BE49-F238E27FC236}">
                <a16:creationId xmlns:a16="http://schemas.microsoft.com/office/drawing/2014/main" id="{1960B388-4E4A-DE89-37D5-609461BF3A7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>
          <a:xfrm>
            <a:off x="0" y="6858000"/>
            <a:ext cx="0" cy="0"/>
          </a:xfrm>
        </p:spPr>
        <p:txBody>
          <a:bodyPr wrap="none">
            <a:normAutofit/>
          </a:bodyPr>
          <a:lstStyle>
            <a:lvl1pPr>
              <a:defRPr sz="100">
                <a:noFill/>
              </a:defRPr>
            </a:lvl1pPr>
          </a:lstStyle>
          <a:p>
            <a:fld id="{776FC98F-84AD-404B-BCCB-49E092AA6DE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Bildplatzhalter 15">
            <a:extLst>
              <a:ext uri="{FF2B5EF4-FFF2-40B4-BE49-F238E27FC236}">
                <a16:creationId xmlns:a16="http://schemas.microsoft.com/office/drawing/2014/main" id="{FF8578ED-5C80-7F30-EAC9-58EF35B54256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0" y="1"/>
            <a:ext cx="12191999" cy="3824287"/>
          </a:xfrm>
        </p:spPr>
        <p:txBody>
          <a:bodyPr tIns="900000" anchor="ctr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picture by clicking on the symbol. </a:t>
            </a:r>
            <a:br>
              <a:rPr lang="en-US" dirty="0"/>
            </a:br>
            <a:br>
              <a:rPr lang="en-US" dirty="0"/>
            </a:br>
            <a:r>
              <a:rPr lang="en-US" dirty="0"/>
              <a:t>Alternatively, copy the image to the clipboard,</a:t>
            </a:r>
            <a:br>
              <a:rPr lang="en-US" dirty="0"/>
            </a:br>
            <a:r>
              <a:rPr lang="en-US" dirty="0"/>
              <a:t> select the placeholder and paste the image.</a:t>
            </a:r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02A2A9F0-A69F-C43F-A107-E3FA32B328F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black">
          <a:xfrm>
            <a:off x="10091738" y="4041776"/>
            <a:ext cx="1726244" cy="365518"/>
          </a:xfrm>
        </p:spPr>
        <p:txBody>
          <a:bodyPr wrap="none" tIns="108000"/>
          <a:lstStyle>
            <a:lvl1pPr marL="0" indent="0" algn="r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bg1"/>
                </a:solidFill>
              </a:defRPr>
            </a:lvl1pPr>
            <a:lvl2pPr marL="0" indent="0" algn="r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bg1"/>
                </a:solidFill>
              </a:defRPr>
            </a:lvl2pPr>
            <a:lvl3pPr marL="0" indent="0" algn="r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bg1"/>
                </a:solidFill>
              </a:defRPr>
            </a:lvl3pPr>
            <a:lvl4pPr marL="0" indent="0" algn="r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bg1"/>
                </a:solidFill>
              </a:defRPr>
            </a:lvl4pPr>
            <a:lvl5pPr marL="0" indent="0" algn="r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bg1"/>
                </a:solidFill>
              </a:defRPr>
            </a:lvl5pPr>
            <a:lvl6pPr marL="0" indent="0" algn="r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bg1"/>
                </a:solidFill>
              </a:defRPr>
            </a:lvl6pPr>
            <a:lvl7pPr marL="0" indent="0" algn="r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bg1"/>
                </a:solidFill>
              </a:defRPr>
            </a:lvl7pPr>
            <a:lvl8pPr marL="0" indent="0" algn="r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bg1"/>
                </a:solidFill>
              </a:defRPr>
            </a:lvl8pPr>
            <a:lvl9pPr marL="0" indent="0" algn="r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Chapter</a:t>
            </a:r>
          </a:p>
        </p:txBody>
      </p:sp>
      <p:sp>
        <p:nvSpPr>
          <p:cNvPr id="17" name="Textplatzhalter 13">
            <a:extLst>
              <a:ext uri="{FF2B5EF4-FFF2-40B4-BE49-F238E27FC236}">
                <a16:creationId xmlns:a16="http://schemas.microsoft.com/office/drawing/2014/main" id="{4FC48BF4-7798-9F53-9DFC-ED348CD6B09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black">
          <a:xfrm>
            <a:off x="10091738" y="4407464"/>
            <a:ext cx="1726244" cy="858274"/>
          </a:xfrm>
        </p:spPr>
        <p:txBody>
          <a:bodyPr wrap="none" tIns="0"/>
          <a:lstStyle>
            <a:lvl1pPr marL="0" indent="0" algn="r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5000" b="0">
                <a:solidFill>
                  <a:schemeClr val="bg1">
                    <a:alpha val="60000"/>
                  </a:schemeClr>
                </a:solidFill>
                <a:latin typeface="+mj-lt"/>
              </a:defRPr>
            </a:lvl1pPr>
            <a:lvl2pPr marL="0" indent="0" algn="r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defRPr sz="5000" b="0">
                <a:solidFill>
                  <a:schemeClr val="accent1">
                    <a:lumMod val="20000"/>
                    <a:lumOff val="80000"/>
                  </a:schemeClr>
                </a:solidFill>
                <a:latin typeface="+mj-lt"/>
              </a:defRPr>
            </a:lvl2pPr>
            <a:lvl3pPr marL="0" indent="0" algn="r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5000" b="0">
                <a:solidFill>
                  <a:schemeClr val="accent1">
                    <a:lumMod val="20000"/>
                    <a:lumOff val="80000"/>
                  </a:schemeClr>
                </a:solidFill>
                <a:latin typeface="+mj-lt"/>
              </a:defRPr>
            </a:lvl3pPr>
            <a:lvl4pPr marL="0" indent="0" algn="r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defRPr sz="5000" b="0">
                <a:solidFill>
                  <a:schemeClr val="accent1">
                    <a:lumMod val="20000"/>
                    <a:lumOff val="80000"/>
                  </a:schemeClr>
                </a:solidFill>
                <a:latin typeface="+mj-lt"/>
              </a:defRPr>
            </a:lvl4pPr>
            <a:lvl5pPr marL="0" indent="0" algn="r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5000" b="0">
                <a:solidFill>
                  <a:schemeClr val="accent1">
                    <a:lumMod val="20000"/>
                    <a:lumOff val="80000"/>
                  </a:schemeClr>
                </a:solidFill>
                <a:latin typeface="+mj-lt"/>
              </a:defRPr>
            </a:lvl5pPr>
            <a:lvl6pPr marL="0" indent="0" algn="r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5000" b="0">
                <a:solidFill>
                  <a:schemeClr val="accent1">
                    <a:lumMod val="20000"/>
                    <a:lumOff val="80000"/>
                  </a:schemeClr>
                </a:solidFill>
                <a:latin typeface="+mj-lt"/>
              </a:defRPr>
            </a:lvl6pPr>
            <a:lvl7pPr marL="0" indent="0" algn="r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5000" b="0">
                <a:solidFill>
                  <a:schemeClr val="accent1">
                    <a:lumMod val="20000"/>
                    <a:lumOff val="80000"/>
                  </a:schemeClr>
                </a:solidFill>
                <a:latin typeface="+mj-lt"/>
              </a:defRPr>
            </a:lvl7pPr>
            <a:lvl8pPr marL="0" indent="0" algn="r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5000" b="0">
                <a:solidFill>
                  <a:schemeClr val="accent1">
                    <a:lumMod val="20000"/>
                    <a:lumOff val="80000"/>
                  </a:schemeClr>
                </a:solidFill>
                <a:latin typeface="+mj-lt"/>
              </a:defRPr>
            </a:lvl8pPr>
            <a:lvl9pPr marL="0" indent="0" algn="r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5000" b="0">
                <a:solidFill>
                  <a:schemeClr val="accent1">
                    <a:lumMod val="20000"/>
                    <a:lumOff val="80000"/>
                  </a:schemeClr>
                </a:solidFill>
                <a:latin typeface="+mj-lt"/>
              </a:defRPr>
            </a:lvl9pPr>
          </a:lstStyle>
          <a:p>
            <a:pPr lvl="0"/>
            <a:r>
              <a:rPr lang="en-US" dirty="0"/>
              <a:t>00</a:t>
            </a: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38A65190-0278-D712-7185-458914BDE89A}"/>
              </a:ext>
            </a:extLst>
          </p:cNvPr>
          <p:cNvSpPr/>
          <p:nvPr userDrawn="1"/>
        </p:nvSpPr>
        <p:spPr bwMode="gray">
          <a:xfrm>
            <a:off x="12252684" y="4041774"/>
            <a:ext cx="1908212" cy="1835498"/>
          </a:xfrm>
          <a:prstGeom prst="rect">
            <a:avLst/>
          </a:prstGeom>
          <a:solidFill>
            <a:schemeClr val="bg1"/>
          </a:solidFill>
          <a:ln w="6350"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44000" tIns="144000" rIns="144000" bIns="144000" rtlCol="0" anchor="t"/>
          <a:lstStyle/>
          <a:p>
            <a:pPr algn="l"/>
            <a:r>
              <a:rPr lang="en-US" sz="1000" b="1" dirty="0">
                <a:solidFill>
                  <a:schemeClr val="tx1"/>
                </a:solidFill>
              </a:rPr>
              <a:t>Divider Slide</a:t>
            </a:r>
          </a:p>
          <a:p>
            <a:pPr algn="l"/>
            <a:r>
              <a:rPr lang="en-US" sz="1000" dirty="0">
                <a:solidFill>
                  <a:schemeClr val="tx1"/>
                </a:solidFill>
              </a:rPr>
              <a:t>For a better overview, the color of the chapter separator can be adjusted.</a:t>
            </a:r>
          </a:p>
          <a:p>
            <a:pPr algn="l"/>
            <a:endParaRPr lang="en-US" sz="1000" dirty="0">
              <a:solidFill>
                <a:schemeClr val="tx1"/>
              </a:solidFill>
            </a:endParaRPr>
          </a:p>
          <a:p>
            <a:pPr algn="l"/>
            <a:r>
              <a:rPr lang="en-US" sz="1000" dirty="0">
                <a:solidFill>
                  <a:schemeClr val="tx1"/>
                </a:solidFill>
              </a:rPr>
              <a:t>Right-click next to the slide, </a:t>
            </a:r>
            <a:r>
              <a:rPr lang="en-US" sz="1000" b="1" dirty="0">
                <a:solidFill>
                  <a:schemeClr val="tx1"/>
                </a:solidFill>
              </a:rPr>
              <a:t>Format background</a:t>
            </a:r>
            <a:r>
              <a:rPr lang="en-US" sz="1000" dirty="0">
                <a:solidFill>
                  <a:schemeClr val="tx1"/>
                </a:solidFill>
              </a:rPr>
              <a:t>, select </a:t>
            </a:r>
            <a:r>
              <a:rPr lang="en-US" sz="1000" b="1" dirty="0">
                <a:solidFill>
                  <a:schemeClr val="tx1"/>
                </a:solidFill>
              </a:rPr>
              <a:t>Theme Colors</a:t>
            </a:r>
            <a:r>
              <a:rPr lang="en-US" sz="1000" dirty="0">
                <a:solidFill>
                  <a:schemeClr val="tx1"/>
                </a:solidFill>
              </a:rPr>
              <a:t>.</a:t>
            </a:r>
            <a:endParaRPr lang="en-US" sz="1000" b="1" dirty="0">
              <a:solidFill>
                <a:schemeClr val="tx1"/>
              </a:solidFill>
            </a:endParaRPr>
          </a:p>
        </p:txBody>
      </p:sp>
      <p:sp>
        <p:nvSpPr>
          <p:cNvPr id="4" name="Rechteck: abgerundete Ecken 3">
            <a:extLst>
              <a:ext uri="{FF2B5EF4-FFF2-40B4-BE49-F238E27FC236}">
                <a16:creationId xmlns:a16="http://schemas.microsoft.com/office/drawing/2014/main" id="{60105423-6B46-120A-0BA8-0B71D20B9EDB}"/>
              </a:ext>
            </a:extLst>
          </p:cNvPr>
          <p:cNvSpPr/>
          <p:nvPr userDrawn="1"/>
        </p:nvSpPr>
        <p:spPr bwMode="gray">
          <a:xfrm>
            <a:off x="12396701" y="5528853"/>
            <a:ext cx="193667" cy="193667"/>
          </a:xfrm>
          <a:prstGeom prst="roundRect">
            <a:avLst>
              <a:gd name="adj" fmla="val 23225"/>
            </a:avLst>
          </a:prstGeom>
          <a:solidFill>
            <a:schemeClr val="tx1"/>
          </a:solidFill>
          <a:ln w="317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44000" tIns="144000" rIns="144000" bIns="144000" rtlCol="0" anchor="ctr"/>
          <a:lstStyle/>
          <a:p>
            <a:pPr algn="ctr"/>
            <a:endParaRPr lang="en-US" sz="1400" b="1" dirty="0">
              <a:solidFill>
                <a:schemeClr val="bg1"/>
              </a:solidFill>
            </a:endParaRPr>
          </a:p>
        </p:txBody>
      </p:sp>
      <p:sp>
        <p:nvSpPr>
          <p:cNvPr id="5" name="Rechteck: abgerundete Ecken 4">
            <a:extLst>
              <a:ext uri="{FF2B5EF4-FFF2-40B4-BE49-F238E27FC236}">
                <a16:creationId xmlns:a16="http://schemas.microsoft.com/office/drawing/2014/main" id="{C49502F4-B000-C269-8071-9A63E2A72653}"/>
              </a:ext>
            </a:extLst>
          </p:cNvPr>
          <p:cNvSpPr/>
          <p:nvPr userDrawn="1"/>
        </p:nvSpPr>
        <p:spPr bwMode="gray">
          <a:xfrm>
            <a:off x="12616451" y="5528853"/>
            <a:ext cx="193667" cy="193667"/>
          </a:xfrm>
          <a:prstGeom prst="roundRect">
            <a:avLst>
              <a:gd name="adj" fmla="val 23225"/>
            </a:avLst>
          </a:prstGeom>
          <a:solidFill>
            <a:schemeClr val="accent1"/>
          </a:solidFill>
          <a:ln w="317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44000" tIns="144000" rIns="144000" bIns="144000" rtlCol="0" anchor="ctr"/>
          <a:lstStyle/>
          <a:p>
            <a:pPr algn="ctr"/>
            <a:endParaRPr lang="en-US" sz="1400" b="1" dirty="0">
              <a:solidFill>
                <a:schemeClr val="bg1"/>
              </a:solidFill>
            </a:endParaRPr>
          </a:p>
        </p:txBody>
      </p:sp>
      <p:sp>
        <p:nvSpPr>
          <p:cNvPr id="13" name="Rechteck: abgerundete Ecken 12">
            <a:extLst>
              <a:ext uri="{FF2B5EF4-FFF2-40B4-BE49-F238E27FC236}">
                <a16:creationId xmlns:a16="http://schemas.microsoft.com/office/drawing/2014/main" id="{7E2FD37A-1CC6-89FD-5DDD-E6570ACC76CE}"/>
              </a:ext>
            </a:extLst>
          </p:cNvPr>
          <p:cNvSpPr/>
          <p:nvPr userDrawn="1"/>
        </p:nvSpPr>
        <p:spPr bwMode="gray">
          <a:xfrm>
            <a:off x="12836201" y="5528853"/>
            <a:ext cx="193667" cy="193667"/>
          </a:xfrm>
          <a:prstGeom prst="roundRect">
            <a:avLst>
              <a:gd name="adj" fmla="val 23225"/>
            </a:avLst>
          </a:prstGeom>
          <a:solidFill>
            <a:schemeClr val="accent2"/>
          </a:solidFill>
          <a:ln w="317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44000" tIns="144000" rIns="144000" bIns="144000" rtlCol="0" anchor="ctr"/>
          <a:lstStyle/>
          <a:p>
            <a:pPr algn="ctr"/>
            <a:endParaRPr lang="en-US" sz="1400" b="1" dirty="0">
              <a:solidFill>
                <a:schemeClr val="bg1"/>
              </a:solidFill>
            </a:endParaRPr>
          </a:p>
        </p:txBody>
      </p:sp>
      <p:sp>
        <p:nvSpPr>
          <p:cNvPr id="15" name="Rechteck: abgerundete Ecken 14">
            <a:extLst>
              <a:ext uri="{FF2B5EF4-FFF2-40B4-BE49-F238E27FC236}">
                <a16:creationId xmlns:a16="http://schemas.microsoft.com/office/drawing/2014/main" id="{F39F4507-52B0-54F8-D940-968CA169441A}"/>
              </a:ext>
            </a:extLst>
          </p:cNvPr>
          <p:cNvSpPr/>
          <p:nvPr userDrawn="1"/>
        </p:nvSpPr>
        <p:spPr bwMode="gray">
          <a:xfrm>
            <a:off x="13055951" y="5528853"/>
            <a:ext cx="193667" cy="193667"/>
          </a:xfrm>
          <a:prstGeom prst="roundRect">
            <a:avLst>
              <a:gd name="adj" fmla="val 23225"/>
            </a:avLst>
          </a:prstGeom>
          <a:solidFill>
            <a:schemeClr val="accent3"/>
          </a:solidFill>
          <a:ln w="317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44000" tIns="144000" rIns="144000" bIns="144000" rtlCol="0" anchor="ctr"/>
          <a:lstStyle/>
          <a:p>
            <a:pPr algn="ctr"/>
            <a:endParaRPr lang="en-US" sz="1400" b="1" dirty="0">
              <a:solidFill>
                <a:schemeClr val="bg1"/>
              </a:solidFill>
            </a:endParaRPr>
          </a:p>
        </p:txBody>
      </p:sp>
      <p:sp>
        <p:nvSpPr>
          <p:cNvPr id="16" name="Rechteck: abgerundete Ecken 15">
            <a:extLst>
              <a:ext uri="{FF2B5EF4-FFF2-40B4-BE49-F238E27FC236}">
                <a16:creationId xmlns:a16="http://schemas.microsoft.com/office/drawing/2014/main" id="{1057D053-9A95-35E0-0244-4F994B98FF23}"/>
              </a:ext>
            </a:extLst>
          </p:cNvPr>
          <p:cNvSpPr/>
          <p:nvPr userDrawn="1"/>
        </p:nvSpPr>
        <p:spPr bwMode="gray">
          <a:xfrm>
            <a:off x="13275701" y="5528853"/>
            <a:ext cx="193667" cy="193667"/>
          </a:xfrm>
          <a:prstGeom prst="roundRect">
            <a:avLst>
              <a:gd name="adj" fmla="val 23225"/>
            </a:avLst>
          </a:prstGeom>
          <a:solidFill>
            <a:schemeClr val="accent4"/>
          </a:solidFill>
          <a:ln w="317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44000" tIns="144000" rIns="144000" bIns="144000" rtlCol="0" anchor="ctr"/>
          <a:lstStyle/>
          <a:p>
            <a:pPr algn="ctr"/>
            <a:endParaRPr lang="en-US" sz="1400" b="1" dirty="0">
              <a:solidFill>
                <a:schemeClr val="bg1"/>
              </a:solidFill>
            </a:endParaRPr>
          </a:p>
        </p:txBody>
      </p:sp>
      <p:sp>
        <p:nvSpPr>
          <p:cNvPr id="18" name="Rechteck: abgerundete Ecken 17">
            <a:extLst>
              <a:ext uri="{FF2B5EF4-FFF2-40B4-BE49-F238E27FC236}">
                <a16:creationId xmlns:a16="http://schemas.microsoft.com/office/drawing/2014/main" id="{3F5C6E84-2A68-9158-2D5F-E1AB8B02124C}"/>
              </a:ext>
            </a:extLst>
          </p:cNvPr>
          <p:cNvSpPr/>
          <p:nvPr userDrawn="1"/>
        </p:nvSpPr>
        <p:spPr bwMode="gray">
          <a:xfrm>
            <a:off x="13495450" y="5528853"/>
            <a:ext cx="193667" cy="193667"/>
          </a:xfrm>
          <a:prstGeom prst="roundRect">
            <a:avLst>
              <a:gd name="adj" fmla="val 23225"/>
            </a:avLst>
          </a:prstGeom>
          <a:solidFill>
            <a:schemeClr val="accent5"/>
          </a:solidFill>
          <a:ln w="317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44000" tIns="144000" rIns="144000" bIns="144000" rtlCol="0" anchor="ctr"/>
          <a:lstStyle/>
          <a:p>
            <a:pPr algn="ctr"/>
            <a:endParaRPr lang="en-US" sz="1400" b="1" dirty="0">
              <a:solidFill>
                <a:schemeClr val="bg1"/>
              </a:solidFill>
            </a:endParaRPr>
          </a:p>
        </p:txBody>
      </p:sp>
      <p:sp>
        <p:nvSpPr>
          <p:cNvPr id="19" name="Rechteck: abgerundete Ecken 18">
            <a:extLst>
              <a:ext uri="{FF2B5EF4-FFF2-40B4-BE49-F238E27FC236}">
                <a16:creationId xmlns:a16="http://schemas.microsoft.com/office/drawing/2014/main" id="{0AE386D5-4201-6C21-55BF-AE30828A74FF}"/>
              </a:ext>
            </a:extLst>
          </p:cNvPr>
          <p:cNvSpPr/>
          <p:nvPr userDrawn="1"/>
        </p:nvSpPr>
        <p:spPr bwMode="gray">
          <a:xfrm>
            <a:off x="13715202" y="5528853"/>
            <a:ext cx="193667" cy="193667"/>
          </a:xfrm>
          <a:prstGeom prst="roundRect">
            <a:avLst>
              <a:gd name="adj" fmla="val 23225"/>
            </a:avLst>
          </a:prstGeom>
          <a:solidFill>
            <a:schemeClr val="accent6"/>
          </a:solidFill>
          <a:ln w="317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44000" tIns="144000" rIns="144000" bIns="144000" rtlCol="0" anchor="ctr"/>
          <a:lstStyle/>
          <a:p>
            <a:pPr algn="ctr"/>
            <a:endParaRPr lang="en-US" sz="1400" b="1" dirty="0">
              <a:solidFill>
                <a:schemeClr val="bg1"/>
              </a:solidFill>
            </a:endParaRPr>
          </a:p>
        </p:txBody>
      </p:sp>
      <p:sp>
        <p:nvSpPr>
          <p:cNvPr id="23" name="Freeform: Shape 22">
            <a:extLst>
              <a:ext uri="{FF2B5EF4-FFF2-40B4-BE49-F238E27FC236}">
                <a16:creationId xmlns:a16="http://schemas.microsoft.com/office/drawing/2014/main" id="{EFCCD13C-13DF-D323-4F51-3921028E77C1}"/>
              </a:ext>
            </a:extLst>
          </p:cNvPr>
          <p:cNvSpPr>
            <a:spLocks/>
          </p:cNvSpPr>
          <p:nvPr/>
        </p:nvSpPr>
        <p:spPr bwMode="gray">
          <a:xfrm>
            <a:off x="11140463" y="6437457"/>
            <a:ext cx="689586" cy="247362"/>
          </a:xfrm>
          <a:custGeom>
            <a:avLst/>
            <a:gdLst>
              <a:gd name="connsiteX0" fmla="*/ 658049 w 861983"/>
              <a:gd name="connsiteY0" fmla="*/ 308 h 309203"/>
              <a:gd name="connsiteX1" fmla="*/ 861983 w 861983"/>
              <a:gd name="connsiteY1" fmla="*/ 308 h 309203"/>
              <a:gd name="connsiteX2" fmla="*/ 861983 w 861983"/>
              <a:gd name="connsiteY2" fmla="*/ 69770 h 309203"/>
              <a:gd name="connsiteX3" fmla="*/ 802345 w 861983"/>
              <a:gd name="connsiteY3" fmla="*/ 69770 h 309203"/>
              <a:gd name="connsiteX4" fmla="*/ 802345 w 861983"/>
              <a:gd name="connsiteY4" fmla="*/ 309203 h 309203"/>
              <a:gd name="connsiteX5" fmla="*/ 717687 w 861983"/>
              <a:gd name="connsiteY5" fmla="*/ 309203 h 309203"/>
              <a:gd name="connsiteX6" fmla="*/ 717687 w 861983"/>
              <a:gd name="connsiteY6" fmla="*/ 69770 h 309203"/>
              <a:gd name="connsiteX7" fmla="*/ 658049 w 861983"/>
              <a:gd name="connsiteY7" fmla="*/ 69770 h 309203"/>
              <a:gd name="connsiteX8" fmla="*/ 553088 w 861983"/>
              <a:gd name="connsiteY8" fmla="*/ 308 h 309203"/>
              <a:gd name="connsiteX9" fmla="*/ 637743 w 861983"/>
              <a:gd name="connsiteY9" fmla="*/ 308 h 309203"/>
              <a:gd name="connsiteX10" fmla="*/ 637743 w 861983"/>
              <a:gd name="connsiteY10" fmla="*/ 308895 h 309203"/>
              <a:gd name="connsiteX11" fmla="*/ 553088 w 861983"/>
              <a:gd name="connsiteY11" fmla="*/ 308895 h 309203"/>
              <a:gd name="connsiteX12" fmla="*/ 310128 w 861983"/>
              <a:gd name="connsiteY12" fmla="*/ 308 h 309203"/>
              <a:gd name="connsiteX13" fmla="*/ 312683 w 861983"/>
              <a:gd name="connsiteY13" fmla="*/ 308 h 309203"/>
              <a:gd name="connsiteX14" fmla="*/ 312375 w 861983"/>
              <a:gd name="connsiteY14" fmla="*/ 308893 h 309203"/>
              <a:gd name="connsiteX15" fmla="*/ 312376 w 861983"/>
              <a:gd name="connsiteY15" fmla="*/ 308894 h 309203"/>
              <a:gd name="connsiteX16" fmla="*/ 312375 w 861983"/>
              <a:gd name="connsiteY16" fmla="*/ 308894 h 309203"/>
              <a:gd name="connsiteX17" fmla="*/ 312375 w 861983"/>
              <a:gd name="connsiteY17" fmla="*/ 308895 h 309203"/>
              <a:gd name="connsiteX18" fmla="*/ 312330 w 861983"/>
              <a:gd name="connsiteY18" fmla="*/ 308895 h 309203"/>
              <a:gd name="connsiteX19" fmla="*/ 312330 w 861983"/>
              <a:gd name="connsiteY19" fmla="*/ 308894 h 309203"/>
              <a:gd name="connsiteX20" fmla="*/ 0 w 861983"/>
              <a:gd name="connsiteY20" fmla="*/ 308894 h 309203"/>
              <a:gd name="connsiteX21" fmla="*/ 9822 w 861983"/>
              <a:gd name="connsiteY21" fmla="*/ 233400 h 309203"/>
              <a:gd name="connsiteX22" fmla="*/ 312327 w 861983"/>
              <a:gd name="connsiteY22" fmla="*/ 308882 h 309203"/>
              <a:gd name="connsiteX23" fmla="*/ 312324 w 861983"/>
              <a:gd name="connsiteY23" fmla="*/ 308870 h 309203"/>
              <a:gd name="connsiteX24" fmla="*/ 30128 w 861983"/>
              <a:gd name="connsiteY24" fmla="*/ 177592 h 309203"/>
              <a:gd name="connsiteX25" fmla="*/ 71047 w 861983"/>
              <a:gd name="connsiteY25" fmla="*/ 113197 h 309203"/>
              <a:gd name="connsiteX26" fmla="*/ 312318 w 861983"/>
              <a:gd name="connsiteY26" fmla="*/ 308847 h 309203"/>
              <a:gd name="connsiteX27" fmla="*/ 312293 w 861983"/>
              <a:gd name="connsiteY27" fmla="*/ 308749 h 309203"/>
              <a:gd name="connsiteX28" fmla="*/ 116061 w 861983"/>
              <a:gd name="connsiteY28" fmla="*/ 68799 h 309203"/>
              <a:gd name="connsiteX29" fmla="*/ 180765 w 861983"/>
              <a:gd name="connsiteY29" fmla="*/ 28848 h 309203"/>
              <a:gd name="connsiteX30" fmla="*/ 312277 w 861983"/>
              <a:gd name="connsiteY30" fmla="*/ 308685 h 309203"/>
              <a:gd name="connsiteX31" fmla="*/ 237188 w 861983"/>
              <a:gd name="connsiteY31" fmla="*/ 9205 h 309203"/>
              <a:gd name="connsiteX32" fmla="*/ 310128 w 861983"/>
              <a:gd name="connsiteY32" fmla="*/ 308 h 309203"/>
              <a:gd name="connsiteX33" fmla="*/ 441123 w 861983"/>
              <a:gd name="connsiteY33" fmla="*/ 0 h 309203"/>
              <a:gd name="connsiteX34" fmla="*/ 538155 w 861983"/>
              <a:gd name="connsiteY34" fmla="*/ 0 h 309203"/>
              <a:gd name="connsiteX35" fmla="*/ 413197 w 861983"/>
              <a:gd name="connsiteY35" fmla="*/ 155394 h 309203"/>
              <a:gd name="connsiteX36" fmla="*/ 538772 w 861983"/>
              <a:gd name="connsiteY36" fmla="*/ 308895 h 309203"/>
              <a:gd name="connsiteX37" fmla="*/ 444646 w 861983"/>
              <a:gd name="connsiteY37" fmla="*/ 308895 h 309203"/>
              <a:gd name="connsiteX38" fmla="*/ 332681 w 861983"/>
              <a:gd name="connsiteY38" fmla="*/ 188693 h 309203"/>
              <a:gd name="connsiteX39" fmla="*/ 332681 w 861983"/>
              <a:gd name="connsiteY39" fmla="*/ 119895 h 309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</a:cxnLst>
            <a:rect l="l" t="t" r="r" b="b"/>
            <a:pathLst>
              <a:path w="861983" h="309203">
                <a:moveTo>
                  <a:pt x="658049" y="308"/>
                </a:moveTo>
                <a:lnTo>
                  <a:pt x="861983" y="308"/>
                </a:lnTo>
                <a:lnTo>
                  <a:pt x="861983" y="69770"/>
                </a:lnTo>
                <a:lnTo>
                  <a:pt x="802345" y="69770"/>
                </a:lnTo>
                <a:lnTo>
                  <a:pt x="802345" y="309203"/>
                </a:lnTo>
                <a:lnTo>
                  <a:pt x="717687" y="309203"/>
                </a:lnTo>
                <a:lnTo>
                  <a:pt x="717687" y="69770"/>
                </a:lnTo>
                <a:lnTo>
                  <a:pt x="658049" y="69770"/>
                </a:lnTo>
                <a:close/>
                <a:moveTo>
                  <a:pt x="553088" y="308"/>
                </a:moveTo>
                <a:lnTo>
                  <a:pt x="637743" y="308"/>
                </a:lnTo>
                <a:lnTo>
                  <a:pt x="637743" y="308895"/>
                </a:lnTo>
                <a:lnTo>
                  <a:pt x="553088" y="308895"/>
                </a:lnTo>
                <a:close/>
                <a:moveTo>
                  <a:pt x="310128" y="308"/>
                </a:moveTo>
                <a:lnTo>
                  <a:pt x="312683" y="308"/>
                </a:lnTo>
                <a:lnTo>
                  <a:pt x="312375" y="308893"/>
                </a:lnTo>
                <a:lnTo>
                  <a:pt x="312376" y="308894"/>
                </a:lnTo>
                <a:lnTo>
                  <a:pt x="312375" y="308894"/>
                </a:lnTo>
                <a:lnTo>
                  <a:pt x="312375" y="308895"/>
                </a:lnTo>
                <a:lnTo>
                  <a:pt x="312330" y="308895"/>
                </a:lnTo>
                <a:lnTo>
                  <a:pt x="312330" y="308894"/>
                </a:lnTo>
                <a:lnTo>
                  <a:pt x="0" y="308894"/>
                </a:lnTo>
                <a:cubicBezTo>
                  <a:pt x="308" y="282863"/>
                  <a:pt x="3480" y="257493"/>
                  <a:pt x="9822" y="233400"/>
                </a:cubicBezTo>
                <a:lnTo>
                  <a:pt x="312327" y="308882"/>
                </a:lnTo>
                <a:lnTo>
                  <a:pt x="312324" y="308870"/>
                </a:lnTo>
                <a:lnTo>
                  <a:pt x="30128" y="177592"/>
                </a:lnTo>
                <a:cubicBezTo>
                  <a:pt x="40920" y="154425"/>
                  <a:pt x="54882" y="132842"/>
                  <a:pt x="71047" y="113197"/>
                </a:cubicBezTo>
                <a:lnTo>
                  <a:pt x="312318" y="308847"/>
                </a:lnTo>
                <a:lnTo>
                  <a:pt x="312293" y="308749"/>
                </a:lnTo>
                <a:lnTo>
                  <a:pt x="116061" y="68799"/>
                </a:lnTo>
                <a:cubicBezTo>
                  <a:pt x="135750" y="52942"/>
                  <a:pt x="157289" y="39640"/>
                  <a:pt x="180765" y="28848"/>
                </a:cubicBezTo>
                <a:lnTo>
                  <a:pt x="312277" y="308685"/>
                </a:lnTo>
                <a:lnTo>
                  <a:pt x="237188" y="9205"/>
                </a:lnTo>
                <a:cubicBezTo>
                  <a:pt x="260665" y="3480"/>
                  <a:pt x="285066" y="308"/>
                  <a:pt x="310128" y="308"/>
                </a:cubicBezTo>
                <a:close/>
                <a:moveTo>
                  <a:pt x="441123" y="0"/>
                </a:moveTo>
                <a:lnTo>
                  <a:pt x="538155" y="0"/>
                </a:lnTo>
                <a:lnTo>
                  <a:pt x="413197" y="155394"/>
                </a:lnTo>
                <a:lnTo>
                  <a:pt x="538772" y="308895"/>
                </a:lnTo>
                <a:lnTo>
                  <a:pt x="444646" y="308895"/>
                </a:lnTo>
                <a:lnTo>
                  <a:pt x="332681" y="188693"/>
                </a:lnTo>
                <a:lnTo>
                  <a:pt x="332681" y="119895"/>
                </a:ln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53141308"/>
      </p:ext>
    </p:extLst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 Slides 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feld 5">
            <a:extLst>
              <a:ext uri="{FF2B5EF4-FFF2-40B4-BE49-F238E27FC236}">
                <a16:creationId xmlns:a16="http://schemas.microsoft.com/office/drawing/2014/main" id="{A60EB3CE-8FA7-6B59-50FD-F65D29AB3304}"/>
              </a:ext>
            </a:extLst>
          </p:cNvPr>
          <p:cNvSpPr txBox="1">
            <a:spLocks/>
          </p:cNvSpPr>
          <p:nvPr userDrawn="1"/>
        </p:nvSpPr>
        <p:spPr bwMode="gray">
          <a:xfrm>
            <a:off x="1234988" y="1592263"/>
            <a:ext cx="10585538" cy="3457574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indent="0" algn="l" defTabSz="914347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SzPct val="90000"/>
              <a:buFont typeface="Wingdings" panose="05000000000000000000" pitchFamily="2" charset="2"/>
              <a:buNone/>
            </a:pPr>
            <a:r>
              <a:rPr lang="en-US" sz="12000" b="1" dirty="0">
                <a:solidFill>
                  <a:schemeClr val="bg1"/>
                </a:solidFill>
              </a:rPr>
              <a:t>Text Slides</a:t>
            </a:r>
          </a:p>
        </p:txBody>
      </p:sp>
      <p:grpSp>
        <p:nvGrpSpPr>
          <p:cNvPr id="5" name="Gruppieren 4">
            <a:extLst>
              <a:ext uri="{FF2B5EF4-FFF2-40B4-BE49-F238E27FC236}">
                <a16:creationId xmlns:a16="http://schemas.microsoft.com/office/drawing/2014/main" id="{896487C8-3898-9A0D-C9F9-756ABF29CC7A}"/>
              </a:ext>
            </a:extLst>
          </p:cNvPr>
          <p:cNvGrpSpPr/>
          <p:nvPr userDrawn="1"/>
        </p:nvGrpSpPr>
        <p:grpSpPr>
          <a:xfrm>
            <a:off x="9749847" y="2816226"/>
            <a:ext cx="1207276" cy="1009648"/>
            <a:chOff x="9336214" y="2528900"/>
            <a:chExt cx="1980368" cy="1656188"/>
          </a:xfrm>
        </p:grpSpPr>
        <p:cxnSp>
          <p:nvCxnSpPr>
            <p:cNvPr id="7" name="Gerader Verbinder 6">
              <a:extLst>
                <a:ext uri="{FF2B5EF4-FFF2-40B4-BE49-F238E27FC236}">
                  <a16:creationId xmlns:a16="http://schemas.microsoft.com/office/drawing/2014/main" id="{BB845C91-C89E-338E-C9EA-4C39346DFA55}"/>
                </a:ext>
              </a:extLst>
            </p:cNvPr>
            <p:cNvCxnSpPr>
              <a:cxnSpLocks/>
            </p:cNvCxnSpPr>
            <p:nvPr userDrawn="1"/>
          </p:nvCxnSpPr>
          <p:spPr bwMode="gray">
            <a:xfrm>
              <a:off x="9336214" y="3356994"/>
              <a:ext cx="1980368" cy="0"/>
            </a:xfrm>
            <a:prstGeom prst="line">
              <a:avLst/>
            </a:prstGeom>
            <a:ln w="1524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" name="Raute 4">
              <a:extLst>
                <a:ext uri="{FF2B5EF4-FFF2-40B4-BE49-F238E27FC236}">
                  <a16:creationId xmlns:a16="http://schemas.microsoft.com/office/drawing/2014/main" id="{176FA26C-F202-41D1-CD6E-898DF2DEBB09}"/>
                </a:ext>
              </a:extLst>
            </p:cNvPr>
            <p:cNvSpPr/>
            <p:nvPr userDrawn="1"/>
          </p:nvSpPr>
          <p:spPr bwMode="gray">
            <a:xfrm>
              <a:off x="10488488" y="2528900"/>
              <a:ext cx="828094" cy="1656188"/>
            </a:xfrm>
            <a:custGeom>
              <a:avLst/>
              <a:gdLst>
                <a:gd name="connsiteX0" fmla="*/ 0 w 648072"/>
                <a:gd name="connsiteY0" fmla="*/ 324036 h 648072"/>
                <a:gd name="connsiteX1" fmla="*/ 324036 w 648072"/>
                <a:gd name="connsiteY1" fmla="*/ 0 h 648072"/>
                <a:gd name="connsiteX2" fmla="*/ 648072 w 648072"/>
                <a:gd name="connsiteY2" fmla="*/ 324036 h 648072"/>
                <a:gd name="connsiteX3" fmla="*/ 324036 w 648072"/>
                <a:gd name="connsiteY3" fmla="*/ 648072 h 648072"/>
                <a:gd name="connsiteX4" fmla="*/ 0 w 648072"/>
                <a:gd name="connsiteY4" fmla="*/ 324036 h 648072"/>
                <a:gd name="connsiteX0" fmla="*/ 0 w 648072"/>
                <a:gd name="connsiteY0" fmla="*/ 324036 h 648072"/>
                <a:gd name="connsiteX1" fmla="*/ 324036 w 648072"/>
                <a:gd name="connsiteY1" fmla="*/ 0 h 648072"/>
                <a:gd name="connsiteX2" fmla="*/ 648072 w 648072"/>
                <a:gd name="connsiteY2" fmla="*/ 324036 h 648072"/>
                <a:gd name="connsiteX3" fmla="*/ 324036 w 648072"/>
                <a:gd name="connsiteY3" fmla="*/ 648072 h 648072"/>
                <a:gd name="connsiteX4" fmla="*/ 91440 w 648072"/>
                <a:gd name="connsiteY4" fmla="*/ 415476 h 648072"/>
                <a:gd name="connsiteX0" fmla="*/ 0 w 648072"/>
                <a:gd name="connsiteY0" fmla="*/ 324036 h 648072"/>
                <a:gd name="connsiteX1" fmla="*/ 324036 w 648072"/>
                <a:gd name="connsiteY1" fmla="*/ 0 h 648072"/>
                <a:gd name="connsiteX2" fmla="*/ 648072 w 648072"/>
                <a:gd name="connsiteY2" fmla="*/ 324036 h 648072"/>
                <a:gd name="connsiteX3" fmla="*/ 324036 w 648072"/>
                <a:gd name="connsiteY3" fmla="*/ 648072 h 648072"/>
                <a:gd name="connsiteX0" fmla="*/ 0 w 324036"/>
                <a:gd name="connsiteY0" fmla="*/ 0 h 648072"/>
                <a:gd name="connsiteX1" fmla="*/ 324036 w 324036"/>
                <a:gd name="connsiteY1" fmla="*/ 324036 h 648072"/>
                <a:gd name="connsiteX2" fmla="*/ 0 w 324036"/>
                <a:gd name="connsiteY2" fmla="*/ 648072 h 6480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24036" h="648072">
                  <a:moveTo>
                    <a:pt x="0" y="0"/>
                  </a:moveTo>
                  <a:lnTo>
                    <a:pt x="324036" y="324036"/>
                  </a:lnTo>
                  <a:lnTo>
                    <a:pt x="0" y="648072"/>
                  </a:lnTo>
                </a:path>
              </a:pathLst>
            </a:custGeom>
            <a:noFill/>
            <a:ln w="152400">
              <a:solidFill>
                <a:schemeClr val="bg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144000" tIns="144000" rIns="144000" bIns="144000" rtlCol="0" anchor="ctr"/>
            <a:lstStyle/>
            <a:p>
              <a:pPr algn="ctr"/>
              <a:endParaRPr lang="en-US" sz="1400" b="1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88093438"/>
      </p:ext>
    </p:extLst>
  </p:cSld>
  <p:clrMapOvr>
    <a:masterClrMapping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11837F5-E22E-01A4-4B20-4EC3C070C9F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Mastertitelformat bearbeiten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93E782B3-0C9B-FAE6-7BE6-84624320F36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noProof="1"/>
              <a:t>Name - Title of Presentation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2DAFDA13-A30E-E409-02C3-53E4F575AF3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76FC98F-84AD-404B-BCCB-49E092AA6DE0}" type="slidenum">
              <a:rPr lang="en-US" noProof="1" smtClean="0"/>
              <a:pPr/>
              <a:t>‹#›</a:t>
            </a:fld>
            <a:endParaRPr lang="en-US" noProof="1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EF9B2F4A-451C-3D68-A7F3-D278E9E9A31F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B2A0DE8F-67E1-495B-B324-F754751C0840}" type="datetime3">
              <a:rPr lang="de-DE" noProof="1" smtClean="0"/>
              <a:t>01/07/2025</a:t>
            </a:fld>
            <a:endParaRPr lang="en-US" noProof="1"/>
          </a:p>
        </p:txBody>
      </p:sp>
    </p:spTree>
    <p:extLst>
      <p:ext uri="{BB962C8B-B14F-4D97-AF65-F5344CB8AC3E}">
        <p14:creationId xmlns:p14="http://schemas.microsoft.com/office/powerpoint/2010/main" val="3979335462"/>
      </p:ext>
    </p:extLst>
  </p:cSld>
  <p:clrMapOvr>
    <a:masterClrMapping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05B1CE1-6CC9-F59B-4D70-B6BAA153740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Add Title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7B8292EB-A174-4AF5-E760-21B84099238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371474" y="1592263"/>
            <a:ext cx="7561264" cy="4684711"/>
          </a:xfrm>
        </p:spPr>
        <p:txBody>
          <a:bodyPr/>
          <a:lstStyle/>
          <a:p>
            <a:pPr lvl="0"/>
            <a:r>
              <a:rPr lang="en-US" dirty="0"/>
              <a:t>Add text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39D431E4-E519-1234-FE33-E8AB80778016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382FFB06-B78D-4EBE-AF33-C0545DFDE6EB}" type="datetime3">
              <a:rPr lang="de-DE" smtClean="0"/>
              <a:t>01/07/2025</a:t>
            </a:fld>
            <a:endParaRPr lang="en-US" dirty="0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138985F4-50E8-E270-E8DA-DC9A5DFEC66D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Name - Title of Presentation</a:t>
            </a:r>
            <a:endParaRPr lang="en-US" dirty="0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C811813F-F15B-6052-8D32-B7BF1C278A5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76FC98F-84AD-404B-BCCB-49E092AA6DE0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53802630"/>
      </p:ext>
    </p:extLst>
  </p:cSld>
  <p:clrMapOvr>
    <a:masterClrMapping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2x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05B1CE1-6CC9-F59B-4D70-B6BAA153740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Add Title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7B8292EB-A174-4AF5-E760-21B84099238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371474" y="1592263"/>
            <a:ext cx="5616575" cy="4684711"/>
          </a:xfrm>
        </p:spPr>
        <p:txBody>
          <a:bodyPr/>
          <a:lstStyle/>
          <a:p>
            <a:pPr lvl="0"/>
            <a:r>
              <a:rPr lang="en-US" dirty="0"/>
              <a:t>Add text</a:t>
            </a:r>
          </a:p>
        </p:txBody>
      </p:sp>
      <p:sp>
        <p:nvSpPr>
          <p:cNvPr id="3" name="Textplatzhalter 7">
            <a:extLst>
              <a:ext uri="{FF2B5EF4-FFF2-40B4-BE49-F238E27FC236}">
                <a16:creationId xmlns:a16="http://schemas.microsoft.com/office/drawing/2014/main" id="{7600DACF-0260-C244-6BC3-A95B98E320D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6203953" y="1592263"/>
            <a:ext cx="5616575" cy="4684711"/>
          </a:xfrm>
        </p:spPr>
        <p:txBody>
          <a:bodyPr/>
          <a:lstStyle/>
          <a:p>
            <a:pPr lvl="0"/>
            <a:r>
              <a:rPr lang="en-US" dirty="0"/>
              <a:t>Add text</a:t>
            </a:r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D89038B4-FE9D-E75E-CBA7-A4AFDD61FFEF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C45E4FB2-A8D4-4A44-B523-1A6592E6D6A0}" type="datetime3">
              <a:rPr lang="de-DE" smtClean="0"/>
              <a:t>01/07/2025</a:t>
            </a:fld>
            <a:endParaRPr lang="en-US" dirty="0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B3F8990C-EE9B-9FAE-C44C-270F39377E68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Name - Title of Presentation</a:t>
            </a:r>
            <a:endParaRPr lang="en-US" dirty="0"/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BC8FCD27-29AE-82EA-3746-DBEB05327989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776FC98F-84AD-404B-BCCB-49E092AA6DE0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59968261"/>
      </p:ext>
    </p:extLst>
  </p:cSld>
  <p:clrMapOvr>
    <a:masterClrMapping/>
  </p:clrMapOvr>
  <p:transition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3x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05B1CE1-6CC9-F59B-4D70-B6BAA153740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Add Title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7B8292EB-A174-4AF5-E760-21B84099238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371474" y="1592263"/>
            <a:ext cx="3671885" cy="4684711"/>
          </a:xfrm>
        </p:spPr>
        <p:txBody>
          <a:bodyPr/>
          <a:lstStyle/>
          <a:p>
            <a:pPr lvl="0"/>
            <a:r>
              <a:rPr lang="en-US" dirty="0"/>
              <a:t>Add text</a:t>
            </a:r>
          </a:p>
        </p:txBody>
      </p:sp>
      <p:sp>
        <p:nvSpPr>
          <p:cNvPr id="3" name="Textplatzhalter 7">
            <a:extLst>
              <a:ext uri="{FF2B5EF4-FFF2-40B4-BE49-F238E27FC236}">
                <a16:creationId xmlns:a16="http://schemas.microsoft.com/office/drawing/2014/main" id="{7600DACF-0260-C244-6BC3-A95B98E320D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259263" y="1598217"/>
            <a:ext cx="3671885" cy="4684711"/>
          </a:xfrm>
        </p:spPr>
        <p:txBody>
          <a:bodyPr/>
          <a:lstStyle/>
          <a:p>
            <a:pPr lvl="0"/>
            <a:r>
              <a:rPr lang="en-US" dirty="0"/>
              <a:t>Add text</a:t>
            </a:r>
          </a:p>
        </p:txBody>
      </p:sp>
      <p:sp>
        <p:nvSpPr>
          <p:cNvPr id="7" name="Textplatzhalter 7">
            <a:extLst>
              <a:ext uri="{FF2B5EF4-FFF2-40B4-BE49-F238E27FC236}">
                <a16:creationId xmlns:a16="http://schemas.microsoft.com/office/drawing/2014/main" id="{5FAB14BE-0A96-B2A6-1E7C-652A5A235D5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8155944" y="1592263"/>
            <a:ext cx="3664582" cy="4684711"/>
          </a:xfrm>
        </p:spPr>
        <p:txBody>
          <a:bodyPr/>
          <a:lstStyle/>
          <a:p>
            <a:pPr lvl="0"/>
            <a:r>
              <a:rPr lang="en-US" dirty="0"/>
              <a:t>Add text</a:t>
            </a:r>
          </a:p>
        </p:txBody>
      </p:sp>
      <p:sp>
        <p:nvSpPr>
          <p:cNvPr id="9" name="Datumsplatzhalter 8">
            <a:extLst>
              <a:ext uri="{FF2B5EF4-FFF2-40B4-BE49-F238E27FC236}">
                <a16:creationId xmlns:a16="http://schemas.microsoft.com/office/drawing/2014/main" id="{DFCF9B44-89CE-5C78-E17A-E0D8DDD8AA0F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2E1E6054-7CE0-4EDA-96CC-13B71BA2A6F1}" type="datetime3">
              <a:rPr lang="de-DE" smtClean="0"/>
              <a:t>01/07/2025</a:t>
            </a:fld>
            <a:endParaRPr lang="en-US" dirty="0"/>
          </a:p>
        </p:txBody>
      </p:sp>
      <p:sp>
        <p:nvSpPr>
          <p:cNvPr id="10" name="Fußzeilenplatzhalter 9">
            <a:extLst>
              <a:ext uri="{FF2B5EF4-FFF2-40B4-BE49-F238E27FC236}">
                <a16:creationId xmlns:a16="http://schemas.microsoft.com/office/drawing/2014/main" id="{62B90CFD-7675-410D-5FBC-60FE99027A65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US"/>
              <a:t>Name - Title of Presentation</a:t>
            </a:r>
            <a:endParaRPr lang="en-US" dirty="0"/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EEE605EC-0BAE-E682-2FEE-959934696D46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776FC98F-84AD-404B-BCCB-49E092AA6DE0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38075662"/>
      </p:ext>
    </p:extLst>
  </p:cSld>
  <p:clrMapOvr>
    <a:masterClrMapping/>
  </p:clrMapOvr>
  <p:transition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4x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05B1CE1-6CC9-F59B-4D70-B6BAA153740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Add Title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7B8292EB-A174-4AF5-E760-21B84099238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371474" y="1592263"/>
            <a:ext cx="2700339" cy="4684711"/>
          </a:xfrm>
        </p:spPr>
        <p:txBody>
          <a:bodyPr/>
          <a:lstStyle/>
          <a:p>
            <a:pPr lvl="0"/>
            <a:r>
              <a:rPr lang="en-US" dirty="0"/>
              <a:t>Add text</a:t>
            </a:r>
          </a:p>
        </p:txBody>
      </p:sp>
      <p:sp>
        <p:nvSpPr>
          <p:cNvPr id="3" name="Textplatzhalter 7">
            <a:extLst>
              <a:ext uri="{FF2B5EF4-FFF2-40B4-BE49-F238E27FC236}">
                <a16:creationId xmlns:a16="http://schemas.microsoft.com/office/drawing/2014/main" id="{7600DACF-0260-C244-6BC3-A95B98E320D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287713" y="1598217"/>
            <a:ext cx="2700339" cy="4684711"/>
          </a:xfrm>
        </p:spPr>
        <p:txBody>
          <a:bodyPr/>
          <a:lstStyle/>
          <a:p>
            <a:pPr lvl="0"/>
            <a:r>
              <a:rPr lang="en-US" dirty="0"/>
              <a:t>Add text</a:t>
            </a:r>
          </a:p>
        </p:txBody>
      </p:sp>
      <p:sp>
        <p:nvSpPr>
          <p:cNvPr id="7" name="Textplatzhalter 7">
            <a:extLst>
              <a:ext uri="{FF2B5EF4-FFF2-40B4-BE49-F238E27FC236}">
                <a16:creationId xmlns:a16="http://schemas.microsoft.com/office/drawing/2014/main" id="{5FAB14BE-0A96-B2A6-1E7C-652A5A235D5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6203949" y="1592263"/>
            <a:ext cx="2700339" cy="4684711"/>
          </a:xfrm>
        </p:spPr>
        <p:txBody>
          <a:bodyPr/>
          <a:lstStyle/>
          <a:p>
            <a:pPr lvl="0"/>
            <a:r>
              <a:rPr lang="en-US" dirty="0"/>
              <a:t>Add text</a:t>
            </a:r>
          </a:p>
        </p:txBody>
      </p:sp>
      <p:sp>
        <p:nvSpPr>
          <p:cNvPr id="9" name="Textplatzhalter 7">
            <a:extLst>
              <a:ext uri="{FF2B5EF4-FFF2-40B4-BE49-F238E27FC236}">
                <a16:creationId xmlns:a16="http://schemas.microsoft.com/office/drawing/2014/main" id="{A18B540B-0C8C-E249-F263-396FA418CFD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9120188" y="1592263"/>
            <a:ext cx="2700339" cy="4684711"/>
          </a:xfrm>
        </p:spPr>
        <p:txBody>
          <a:bodyPr/>
          <a:lstStyle/>
          <a:p>
            <a:pPr lvl="0"/>
            <a:r>
              <a:rPr lang="en-US" dirty="0"/>
              <a:t>Add text</a:t>
            </a:r>
          </a:p>
        </p:txBody>
      </p:sp>
      <p:sp>
        <p:nvSpPr>
          <p:cNvPr id="10" name="Datumsplatzhalter 9">
            <a:extLst>
              <a:ext uri="{FF2B5EF4-FFF2-40B4-BE49-F238E27FC236}">
                <a16:creationId xmlns:a16="http://schemas.microsoft.com/office/drawing/2014/main" id="{F6F2C2F2-A469-FDA9-4694-B14CE4D2B830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fld id="{5EC89E41-7072-44CC-B244-1AABA7C6926D}" type="datetime3">
              <a:rPr lang="de-DE" smtClean="0"/>
              <a:t>01/07/2025</a:t>
            </a:fld>
            <a:endParaRPr lang="en-US" dirty="0"/>
          </a:p>
        </p:txBody>
      </p:sp>
      <p:sp>
        <p:nvSpPr>
          <p:cNvPr id="11" name="Fußzeilenplatzhalter 10">
            <a:extLst>
              <a:ext uri="{FF2B5EF4-FFF2-40B4-BE49-F238E27FC236}">
                <a16:creationId xmlns:a16="http://schemas.microsoft.com/office/drawing/2014/main" id="{09FE437C-2FB5-8E53-12AF-758B9C09B968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en-US"/>
              <a:t>Name - Title of Presentation</a:t>
            </a:r>
            <a:endParaRPr lang="en-US" dirty="0"/>
          </a:p>
        </p:txBody>
      </p:sp>
      <p:sp>
        <p:nvSpPr>
          <p:cNvPr id="12" name="Foliennummernplatzhalter 11">
            <a:extLst>
              <a:ext uri="{FF2B5EF4-FFF2-40B4-BE49-F238E27FC236}">
                <a16:creationId xmlns:a16="http://schemas.microsoft.com/office/drawing/2014/main" id="{FC6255C4-5E26-8F03-0093-3FE830E79CD3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776FC98F-84AD-404B-BCCB-49E092AA6DE0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45193020"/>
      </p:ext>
    </p:extLst>
  </p:cSld>
  <p:clrMapOvr>
    <a:masterClrMapping/>
  </p:clrMapOvr>
  <p:transition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 and Picture 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feld 5">
            <a:extLst>
              <a:ext uri="{FF2B5EF4-FFF2-40B4-BE49-F238E27FC236}">
                <a16:creationId xmlns:a16="http://schemas.microsoft.com/office/drawing/2014/main" id="{A60EB3CE-8FA7-6B59-50FD-F65D29AB3304}"/>
              </a:ext>
            </a:extLst>
          </p:cNvPr>
          <p:cNvSpPr txBox="1">
            <a:spLocks/>
          </p:cNvSpPr>
          <p:nvPr userDrawn="1"/>
        </p:nvSpPr>
        <p:spPr bwMode="gray">
          <a:xfrm>
            <a:off x="1234988" y="1592263"/>
            <a:ext cx="10585538" cy="3457574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indent="0" algn="l" defTabSz="914347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SzPct val="90000"/>
              <a:buFont typeface="Wingdings" panose="05000000000000000000" pitchFamily="2" charset="2"/>
              <a:buNone/>
            </a:pPr>
            <a:r>
              <a:rPr lang="en-US" sz="12000" b="1" dirty="0">
                <a:solidFill>
                  <a:schemeClr val="bg1"/>
                </a:solidFill>
              </a:rPr>
              <a:t>Text &amp; </a:t>
            </a:r>
            <a:br>
              <a:rPr lang="en-US" sz="12000" b="1" dirty="0">
                <a:solidFill>
                  <a:schemeClr val="bg1"/>
                </a:solidFill>
              </a:rPr>
            </a:br>
            <a:r>
              <a:rPr lang="en-US" sz="12000" b="1" dirty="0" err="1">
                <a:solidFill>
                  <a:schemeClr val="bg1"/>
                </a:solidFill>
              </a:rPr>
              <a:t>Pictue</a:t>
            </a:r>
            <a:endParaRPr lang="en-US" sz="12000" b="1" dirty="0">
              <a:solidFill>
                <a:schemeClr val="bg1"/>
              </a:solidFill>
            </a:endParaRPr>
          </a:p>
        </p:txBody>
      </p:sp>
      <p:grpSp>
        <p:nvGrpSpPr>
          <p:cNvPr id="5" name="Gruppieren 4">
            <a:extLst>
              <a:ext uri="{FF2B5EF4-FFF2-40B4-BE49-F238E27FC236}">
                <a16:creationId xmlns:a16="http://schemas.microsoft.com/office/drawing/2014/main" id="{ED91CF98-7E64-A92D-A585-8CE7EB1112F2}"/>
              </a:ext>
            </a:extLst>
          </p:cNvPr>
          <p:cNvGrpSpPr/>
          <p:nvPr userDrawn="1"/>
        </p:nvGrpSpPr>
        <p:grpSpPr>
          <a:xfrm>
            <a:off x="9749847" y="2816226"/>
            <a:ext cx="1207276" cy="1009648"/>
            <a:chOff x="9336214" y="2528900"/>
            <a:chExt cx="1980368" cy="1656188"/>
          </a:xfrm>
        </p:grpSpPr>
        <p:cxnSp>
          <p:nvCxnSpPr>
            <p:cNvPr id="7" name="Gerader Verbinder 6">
              <a:extLst>
                <a:ext uri="{FF2B5EF4-FFF2-40B4-BE49-F238E27FC236}">
                  <a16:creationId xmlns:a16="http://schemas.microsoft.com/office/drawing/2014/main" id="{0DC14551-5FA4-58A0-A5D0-4712444E529A}"/>
                </a:ext>
              </a:extLst>
            </p:cNvPr>
            <p:cNvCxnSpPr>
              <a:cxnSpLocks/>
            </p:cNvCxnSpPr>
            <p:nvPr userDrawn="1"/>
          </p:nvCxnSpPr>
          <p:spPr bwMode="gray">
            <a:xfrm>
              <a:off x="9336214" y="3356994"/>
              <a:ext cx="1980368" cy="0"/>
            </a:xfrm>
            <a:prstGeom prst="line">
              <a:avLst/>
            </a:prstGeom>
            <a:ln w="1524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" name="Raute 4">
              <a:extLst>
                <a:ext uri="{FF2B5EF4-FFF2-40B4-BE49-F238E27FC236}">
                  <a16:creationId xmlns:a16="http://schemas.microsoft.com/office/drawing/2014/main" id="{CA816A33-7090-9599-A875-ED901DF398EA}"/>
                </a:ext>
              </a:extLst>
            </p:cNvPr>
            <p:cNvSpPr/>
            <p:nvPr userDrawn="1"/>
          </p:nvSpPr>
          <p:spPr bwMode="gray">
            <a:xfrm>
              <a:off x="10488488" y="2528900"/>
              <a:ext cx="828094" cy="1656188"/>
            </a:xfrm>
            <a:custGeom>
              <a:avLst/>
              <a:gdLst>
                <a:gd name="connsiteX0" fmla="*/ 0 w 648072"/>
                <a:gd name="connsiteY0" fmla="*/ 324036 h 648072"/>
                <a:gd name="connsiteX1" fmla="*/ 324036 w 648072"/>
                <a:gd name="connsiteY1" fmla="*/ 0 h 648072"/>
                <a:gd name="connsiteX2" fmla="*/ 648072 w 648072"/>
                <a:gd name="connsiteY2" fmla="*/ 324036 h 648072"/>
                <a:gd name="connsiteX3" fmla="*/ 324036 w 648072"/>
                <a:gd name="connsiteY3" fmla="*/ 648072 h 648072"/>
                <a:gd name="connsiteX4" fmla="*/ 0 w 648072"/>
                <a:gd name="connsiteY4" fmla="*/ 324036 h 648072"/>
                <a:gd name="connsiteX0" fmla="*/ 0 w 648072"/>
                <a:gd name="connsiteY0" fmla="*/ 324036 h 648072"/>
                <a:gd name="connsiteX1" fmla="*/ 324036 w 648072"/>
                <a:gd name="connsiteY1" fmla="*/ 0 h 648072"/>
                <a:gd name="connsiteX2" fmla="*/ 648072 w 648072"/>
                <a:gd name="connsiteY2" fmla="*/ 324036 h 648072"/>
                <a:gd name="connsiteX3" fmla="*/ 324036 w 648072"/>
                <a:gd name="connsiteY3" fmla="*/ 648072 h 648072"/>
                <a:gd name="connsiteX4" fmla="*/ 91440 w 648072"/>
                <a:gd name="connsiteY4" fmla="*/ 415476 h 648072"/>
                <a:gd name="connsiteX0" fmla="*/ 0 w 648072"/>
                <a:gd name="connsiteY0" fmla="*/ 324036 h 648072"/>
                <a:gd name="connsiteX1" fmla="*/ 324036 w 648072"/>
                <a:gd name="connsiteY1" fmla="*/ 0 h 648072"/>
                <a:gd name="connsiteX2" fmla="*/ 648072 w 648072"/>
                <a:gd name="connsiteY2" fmla="*/ 324036 h 648072"/>
                <a:gd name="connsiteX3" fmla="*/ 324036 w 648072"/>
                <a:gd name="connsiteY3" fmla="*/ 648072 h 648072"/>
                <a:gd name="connsiteX0" fmla="*/ 0 w 324036"/>
                <a:gd name="connsiteY0" fmla="*/ 0 h 648072"/>
                <a:gd name="connsiteX1" fmla="*/ 324036 w 324036"/>
                <a:gd name="connsiteY1" fmla="*/ 324036 h 648072"/>
                <a:gd name="connsiteX2" fmla="*/ 0 w 324036"/>
                <a:gd name="connsiteY2" fmla="*/ 648072 h 6480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24036" h="648072">
                  <a:moveTo>
                    <a:pt x="0" y="0"/>
                  </a:moveTo>
                  <a:lnTo>
                    <a:pt x="324036" y="324036"/>
                  </a:lnTo>
                  <a:lnTo>
                    <a:pt x="0" y="648072"/>
                  </a:lnTo>
                </a:path>
              </a:pathLst>
            </a:custGeom>
            <a:noFill/>
            <a:ln w="152400">
              <a:solidFill>
                <a:schemeClr val="bg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144000" tIns="144000" rIns="144000" bIns="144000" rtlCol="0" anchor="ctr"/>
            <a:lstStyle/>
            <a:p>
              <a:pPr algn="ctr"/>
              <a:endParaRPr lang="en-US" sz="1400" b="1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191385402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15">
            <a:extLst>
              <a:ext uri="{FF2B5EF4-FFF2-40B4-BE49-F238E27FC236}">
                <a16:creationId xmlns:a16="http://schemas.microsoft.com/office/drawing/2014/main" id="{E617D12E-D9F2-FE30-962E-F64655611604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5988051" y="1"/>
            <a:ext cx="4103687" cy="6858000"/>
          </a:xfrm>
        </p:spPr>
        <p:txBody>
          <a:bodyPr tIns="936000" anchor="ctr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00"/>
            </a:lvl1pPr>
          </a:lstStyle>
          <a:p>
            <a:r>
              <a:rPr lang="en-US" dirty="0"/>
              <a:t>Insert picture by clicking on the symbol. </a:t>
            </a:r>
            <a:br>
              <a:rPr lang="en-US" dirty="0"/>
            </a:br>
            <a:br>
              <a:rPr lang="en-US" dirty="0"/>
            </a:br>
            <a:r>
              <a:rPr lang="en-US" dirty="0"/>
              <a:t>Alternatively, copy the image to the clipboard,</a:t>
            </a:r>
            <a:br>
              <a:rPr lang="en-US" dirty="0"/>
            </a:br>
            <a:r>
              <a:rPr lang="en-US" dirty="0"/>
              <a:t> select the placeholder and paste the image.</a:t>
            </a: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914472A9-C746-414B-A339-17009C086F0C}"/>
              </a:ext>
            </a:extLst>
          </p:cNvPr>
          <p:cNvSpPr/>
          <p:nvPr userDrawn="1"/>
        </p:nvSpPr>
        <p:spPr bwMode="gray">
          <a:xfrm>
            <a:off x="0" y="0"/>
            <a:ext cx="598805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446F4A2-1BBD-C6A2-7866-B5B1968C941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gray">
          <a:xfrm>
            <a:off x="371475" y="368300"/>
            <a:ext cx="5616575" cy="4681538"/>
          </a:xfrm>
        </p:spPr>
        <p:txBody>
          <a:bodyPr rIns="360000" anchor="t"/>
          <a:lstStyle>
            <a:lvl1pPr algn="l">
              <a:defRPr sz="5000">
                <a:solidFill>
                  <a:schemeClr val="accent1">
                    <a:lumMod val="20000"/>
                    <a:lumOff val="80000"/>
                  </a:schemeClr>
                </a:solidFill>
              </a:defRPr>
            </a:lvl1pPr>
          </a:lstStyle>
          <a:p>
            <a:r>
              <a:rPr lang="en-US" dirty="0"/>
              <a:t>Add Title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17604293-CF1F-A295-5586-92D0F86F4A3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71475" y="5265738"/>
            <a:ext cx="5616575" cy="1011236"/>
          </a:xfrm>
        </p:spPr>
        <p:txBody>
          <a:bodyPr rIns="360000" anchor="b"/>
          <a:lstStyle>
            <a:lvl1pPr marL="0" indent="0" algn="l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None/>
              <a:defRPr sz="1600">
                <a:solidFill>
                  <a:schemeClr val="bg1"/>
                </a:solidFill>
              </a:defRPr>
            </a:lvl1pPr>
            <a:lvl2pPr marL="0" indent="0" algn="l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None/>
              <a:defRPr sz="1400">
                <a:solidFill>
                  <a:schemeClr val="bg1"/>
                </a:solidFill>
              </a:defRPr>
            </a:lvl2pPr>
            <a:lvl3pPr marL="0" indent="0" algn="l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None/>
              <a:defRPr sz="1400">
                <a:solidFill>
                  <a:schemeClr val="bg1"/>
                </a:solidFill>
              </a:defRPr>
            </a:lvl3pPr>
            <a:lvl4pPr marL="0" indent="0" algn="l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None/>
              <a:defRPr sz="1400">
                <a:solidFill>
                  <a:schemeClr val="bg1"/>
                </a:solidFill>
              </a:defRPr>
            </a:lvl4pPr>
            <a:lvl5pPr marL="0" indent="0" algn="l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None/>
              <a:defRPr sz="1400">
                <a:solidFill>
                  <a:schemeClr val="bg1"/>
                </a:solidFill>
              </a:defRPr>
            </a:lvl5pPr>
            <a:lvl6pPr marL="0" indent="0" algn="l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None/>
              <a:defRPr sz="1400">
                <a:solidFill>
                  <a:schemeClr val="bg1"/>
                </a:solidFill>
              </a:defRPr>
            </a:lvl6pPr>
            <a:lvl7pPr marL="0" indent="0" algn="l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None/>
              <a:defRPr sz="1400">
                <a:solidFill>
                  <a:schemeClr val="bg1"/>
                </a:solidFill>
              </a:defRPr>
            </a:lvl7pPr>
            <a:lvl8pPr marL="0" indent="0" algn="l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None/>
              <a:defRPr sz="1400">
                <a:solidFill>
                  <a:schemeClr val="bg1"/>
                </a:solidFill>
              </a:defRPr>
            </a:lvl8pPr>
            <a:lvl9pPr marL="0" indent="0" algn="l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None/>
              <a:defRPr sz="14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Add Subtitl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AA6250CC-595F-56CB-920B-A07D0AF8DB68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gray">
          <a:xfrm>
            <a:off x="0" y="6858000"/>
            <a:ext cx="0" cy="0"/>
          </a:xfrm>
          <a:prstGeom prst="rect">
            <a:avLst/>
          </a:prstGeom>
        </p:spPr>
        <p:txBody>
          <a:bodyPr wrap="none">
            <a:normAutofit/>
          </a:bodyPr>
          <a:lstStyle>
            <a:lvl1pPr>
              <a:defRPr>
                <a:noFill/>
              </a:defRPr>
            </a:lvl1pPr>
          </a:lstStyle>
          <a:p>
            <a:fld id="{A4A19A95-D23C-445E-8F64-953237B3CA28}" type="datetime3">
              <a:rPr lang="de-DE" smtClean="0"/>
              <a:t>01/07/2025</a:t>
            </a:fld>
            <a:endParaRPr lang="en-US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A012934-337B-04B6-BBA6-336DE745548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>
          <a:xfrm>
            <a:off x="0" y="6858000"/>
            <a:ext cx="0" cy="0"/>
          </a:xfrm>
        </p:spPr>
        <p:txBody>
          <a:bodyPr wrap="none">
            <a:normAutofit/>
          </a:bodyPr>
          <a:lstStyle>
            <a:lvl1pPr>
              <a:defRPr sz="100">
                <a:noFill/>
              </a:defRPr>
            </a:lvl1pPr>
          </a:lstStyle>
          <a:p>
            <a:r>
              <a:rPr lang="en-US"/>
              <a:t>Name - Title of Presentation</a:t>
            </a:r>
            <a:endParaRPr lang="en-US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F77DF1B2-42B7-5543-6886-E7938EDBECD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>
          <a:xfrm>
            <a:off x="0" y="6858000"/>
            <a:ext cx="0" cy="0"/>
          </a:xfrm>
        </p:spPr>
        <p:txBody>
          <a:bodyPr wrap="none">
            <a:normAutofit/>
          </a:bodyPr>
          <a:lstStyle>
            <a:lvl1pPr>
              <a:defRPr sz="100">
                <a:noFill/>
              </a:defRPr>
            </a:lvl1pPr>
          </a:lstStyle>
          <a:p>
            <a:fld id="{776FC98F-84AD-404B-BCCB-49E092AA6DE0}" type="slidenum">
              <a:rPr lang="en-US" smtClean="0"/>
              <a:pPr/>
              <a:t>‹#›</a:t>
            </a:fld>
            <a:endParaRPr lang="en-US"/>
          </a:p>
        </p:txBody>
      </p:sp>
      <p:grpSp>
        <p:nvGrpSpPr>
          <p:cNvPr id="9" name="Gruppieren 8">
            <a:extLst>
              <a:ext uri="{FF2B5EF4-FFF2-40B4-BE49-F238E27FC236}">
                <a16:creationId xmlns:a16="http://schemas.microsoft.com/office/drawing/2014/main" id="{0484C6BD-91DB-46E4-D1D8-D75CEFB669AE}"/>
              </a:ext>
            </a:extLst>
          </p:cNvPr>
          <p:cNvGrpSpPr>
            <a:grpSpLocks/>
          </p:cNvGrpSpPr>
          <p:nvPr userDrawn="1"/>
        </p:nvGrpSpPr>
        <p:grpSpPr bwMode="gray">
          <a:xfrm>
            <a:off x="10710878" y="368659"/>
            <a:ext cx="861983" cy="309203"/>
            <a:chOff x="11189494" y="381000"/>
            <a:chExt cx="621506" cy="222941"/>
          </a:xfrm>
        </p:grpSpPr>
        <p:sp>
          <p:nvSpPr>
            <p:cNvPr id="10" name="Freihandform: Form 9">
              <a:extLst>
                <a:ext uri="{FF2B5EF4-FFF2-40B4-BE49-F238E27FC236}">
                  <a16:creationId xmlns:a16="http://schemas.microsoft.com/office/drawing/2014/main" id="{59D79EA9-159E-AF02-E8D2-0E0E2BFCBD4B}"/>
                </a:ext>
              </a:extLst>
            </p:cNvPr>
            <p:cNvSpPr/>
            <p:nvPr/>
          </p:nvSpPr>
          <p:spPr bwMode="gray">
            <a:xfrm>
              <a:off x="11360511" y="381000"/>
              <a:ext cx="450489" cy="222941"/>
            </a:xfrm>
            <a:custGeom>
              <a:avLst/>
              <a:gdLst>
                <a:gd name="connsiteX0" fmla="*/ 303449 w 450489"/>
                <a:gd name="connsiteY0" fmla="*/ 222 h 222941"/>
                <a:gd name="connsiteX1" fmla="*/ 450489 w 450489"/>
                <a:gd name="connsiteY1" fmla="*/ 222 h 222941"/>
                <a:gd name="connsiteX2" fmla="*/ 450489 w 450489"/>
                <a:gd name="connsiteY2" fmla="*/ 50305 h 222941"/>
                <a:gd name="connsiteX3" fmla="*/ 407489 w 450489"/>
                <a:gd name="connsiteY3" fmla="*/ 50305 h 222941"/>
                <a:gd name="connsiteX4" fmla="*/ 407489 w 450489"/>
                <a:gd name="connsiteY4" fmla="*/ 222941 h 222941"/>
                <a:gd name="connsiteX5" fmla="*/ 346449 w 450489"/>
                <a:gd name="connsiteY5" fmla="*/ 222941 h 222941"/>
                <a:gd name="connsiteX6" fmla="*/ 346449 w 450489"/>
                <a:gd name="connsiteY6" fmla="*/ 50305 h 222941"/>
                <a:gd name="connsiteX7" fmla="*/ 303449 w 450489"/>
                <a:gd name="connsiteY7" fmla="*/ 50305 h 222941"/>
                <a:gd name="connsiteX8" fmla="*/ 227770 w 450489"/>
                <a:gd name="connsiteY8" fmla="*/ 222 h 222941"/>
                <a:gd name="connsiteX9" fmla="*/ 288808 w 450489"/>
                <a:gd name="connsiteY9" fmla="*/ 222 h 222941"/>
                <a:gd name="connsiteX10" fmla="*/ 288808 w 450489"/>
                <a:gd name="connsiteY10" fmla="*/ 222719 h 222941"/>
                <a:gd name="connsiteX11" fmla="*/ 227770 w 450489"/>
                <a:gd name="connsiteY11" fmla="*/ 222719 h 222941"/>
                <a:gd name="connsiteX12" fmla="*/ 52591 w 450489"/>
                <a:gd name="connsiteY12" fmla="*/ 222 h 222941"/>
                <a:gd name="connsiteX13" fmla="*/ 54433 w 450489"/>
                <a:gd name="connsiteY13" fmla="*/ 222 h 222941"/>
                <a:gd name="connsiteX14" fmla="*/ 54211 w 450489"/>
                <a:gd name="connsiteY14" fmla="*/ 222719 h 222941"/>
                <a:gd name="connsiteX15" fmla="*/ 54179 w 450489"/>
                <a:gd name="connsiteY15" fmla="*/ 222719 h 222941"/>
                <a:gd name="connsiteX16" fmla="*/ 0 w 450489"/>
                <a:gd name="connsiteY16" fmla="*/ 6637 h 222941"/>
                <a:gd name="connsiteX17" fmla="*/ 52591 w 450489"/>
                <a:gd name="connsiteY17" fmla="*/ 222 h 222941"/>
                <a:gd name="connsiteX18" fmla="*/ 147041 w 450489"/>
                <a:gd name="connsiteY18" fmla="*/ 0 h 222941"/>
                <a:gd name="connsiteX19" fmla="*/ 217003 w 450489"/>
                <a:gd name="connsiteY19" fmla="*/ 0 h 222941"/>
                <a:gd name="connsiteX20" fmla="*/ 126906 w 450489"/>
                <a:gd name="connsiteY20" fmla="*/ 112042 h 222941"/>
                <a:gd name="connsiteX21" fmla="*/ 217448 w 450489"/>
                <a:gd name="connsiteY21" fmla="*/ 222719 h 222941"/>
                <a:gd name="connsiteX22" fmla="*/ 149581 w 450489"/>
                <a:gd name="connsiteY22" fmla="*/ 222719 h 222941"/>
                <a:gd name="connsiteX23" fmla="*/ 68852 w 450489"/>
                <a:gd name="connsiteY23" fmla="*/ 136051 h 222941"/>
                <a:gd name="connsiteX24" fmla="*/ 68852 w 450489"/>
                <a:gd name="connsiteY24" fmla="*/ 86446 h 2229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450489" h="222941">
                  <a:moveTo>
                    <a:pt x="303449" y="222"/>
                  </a:moveTo>
                  <a:lnTo>
                    <a:pt x="450489" y="222"/>
                  </a:lnTo>
                  <a:lnTo>
                    <a:pt x="450489" y="50305"/>
                  </a:lnTo>
                  <a:lnTo>
                    <a:pt x="407489" y="50305"/>
                  </a:lnTo>
                  <a:lnTo>
                    <a:pt x="407489" y="222941"/>
                  </a:lnTo>
                  <a:lnTo>
                    <a:pt x="346449" y="222941"/>
                  </a:lnTo>
                  <a:lnTo>
                    <a:pt x="346449" y="50305"/>
                  </a:lnTo>
                  <a:lnTo>
                    <a:pt x="303449" y="50305"/>
                  </a:lnTo>
                  <a:close/>
                  <a:moveTo>
                    <a:pt x="227770" y="222"/>
                  </a:moveTo>
                  <a:lnTo>
                    <a:pt x="288808" y="222"/>
                  </a:lnTo>
                  <a:lnTo>
                    <a:pt x="288808" y="222719"/>
                  </a:lnTo>
                  <a:lnTo>
                    <a:pt x="227770" y="222719"/>
                  </a:lnTo>
                  <a:close/>
                  <a:moveTo>
                    <a:pt x="52591" y="222"/>
                  </a:moveTo>
                  <a:lnTo>
                    <a:pt x="54433" y="222"/>
                  </a:lnTo>
                  <a:lnTo>
                    <a:pt x="54211" y="222719"/>
                  </a:lnTo>
                  <a:lnTo>
                    <a:pt x="54179" y="222719"/>
                  </a:lnTo>
                  <a:lnTo>
                    <a:pt x="0" y="6637"/>
                  </a:lnTo>
                  <a:cubicBezTo>
                    <a:pt x="16927" y="2509"/>
                    <a:pt x="34521" y="222"/>
                    <a:pt x="52591" y="222"/>
                  </a:cubicBezTo>
                  <a:close/>
                  <a:moveTo>
                    <a:pt x="147041" y="0"/>
                  </a:moveTo>
                  <a:lnTo>
                    <a:pt x="217003" y="0"/>
                  </a:lnTo>
                  <a:lnTo>
                    <a:pt x="126906" y="112042"/>
                  </a:lnTo>
                  <a:lnTo>
                    <a:pt x="217448" y="222719"/>
                  </a:lnTo>
                  <a:lnTo>
                    <a:pt x="149581" y="222719"/>
                  </a:lnTo>
                  <a:lnTo>
                    <a:pt x="68852" y="136051"/>
                  </a:lnTo>
                  <a:lnTo>
                    <a:pt x="68852" y="86446"/>
                  </a:ln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1" name="Freihandform: Form 10">
              <a:extLst>
                <a:ext uri="{FF2B5EF4-FFF2-40B4-BE49-F238E27FC236}">
                  <a16:creationId xmlns:a16="http://schemas.microsoft.com/office/drawing/2014/main" id="{D0DC72A4-EA66-1D2C-67F7-6C89ECA758CD}"/>
                </a:ext>
              </a:extLst>
            </p:cNvPr>
            <p:cNvSpPr/>
            <p:nvPr/>
          </p:nvSpPr>
          <p:spPr bwMode="gray">
            <a:xfrm>
              <a:off x="11189494" y="401800"/>
              <a:ext cx="225229" cy="201918"/>
            </a:xfrm>
            <a:custGeom>
              <a:avLst/>
              <a:gdLst>
                <a:gd name="connsiteX0" fmla="*/ 225193 w 225229"/>
                <a:gd name="connsiteY0" fmla="*/ 201842 h 201918"/>
                <a:gd name="connsiteX1" fmla="*/ 225228 w 225229"/>
                <a:gd name="connsiteY1" fmla="*/ 201885 h 201918"/>
                <a:gd name="connsiteX2" fmla="*/ 225228 w 225229"/>
                <a:gd name="connsiteY2" fmla="*/ 201917 h 201918"/>
                <a:gd name="connsiteX3" fmla="*/ 7082 w 225229"/>
                <a:gd name="connsiteY3" fmla="*/ 147485 h 201918"/>
                <a:gd name="connsiteX4" fmla="*/ 225228 w 225229"/>
                <a:gd name="connsiteY4" fmla="*/ 201918 h 201918"/>
                <a:gd name="connsiteX5" fmla="*/ 0 w 225229"/>
                <a:gd name="connsiteY5" fmla="*/ 201918 h 201918"/>
                <a:gd name="connsiteX6" fmla="*/ 7082 w 225229"/>
                <a:gd name="connsiteY6" fmla="*/ 147485 h 201918"/>
                <a:gd name="connsiteX7" fmla="*/ 51226 w 225229"/>
                <a:gd name="connsiteY7" fmla="*/ 60817 h 201918"/>
                <a:gd name="connsiteX8" fmla="*/ 225229 w 225229"/>
                <a:gd name="connsiteY8" fmla="*/ 201918 h 201918"/>
                <a:gd name="connsiteX9" fmla="*/ 21723 w 225229"/>
                <a:gd name="connsiteY9" fmla="*/ 107247 h 201918"/>
                <a:gd name="connsiteX10" fmla="*/ 51226 w 225229"/>
                <a:gd name="connsiteY10" fmla="*/ 60817 h 201918"/>
                <a:gd name="connsiteX11" fmla="*/ 130335 w 225229"/>
                <a:gd name="connsiteY11" fmla="*/ 0 h 201918"/>
                <a:gd name="connsiteX12" fmla="*/ 225193 w 225229"/>
                <a:gd name="connsiteY12" fmla="*/ 201842 h 201918"/>
                <a:gd name="connsiteX13" fmla="*/ 83682 w 225229"/>
                <a:gd name="connsiteY13" fmla="*/ 28805 h 201918"/>
                <a:gd name="connsiteX14" fmla="*/ 130335 w 225229"/>
                <a:gd name="connsiteY14" fmla="*/ 0 h 2019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25229" h="201918">
                  <a:moveTo>
                    <a:pt x="225193" y="201842"/>
                  </a:moveTo>
                  <a:lnTo>
                    <a:pt x="225228" y="201885"/>
                  </a:lnTo>
                  <a:lnTo>
                    <a:pt x="225228" y="201917"/>
                  </a:lnTo>
                  <a:close/>
                  <a:moveTo>
                    <a:pt x="7082" y="147485"/>
                  </a:moveTo>
                  <a:lnTo>
                    <a:pt x="225228" y="201918"/>
                  </a:lnTo>
                  <a:lnTo>
                    <a:pt x="0" y="201918"/>
                  </a:lnTo>
                  <a:cubicBezTo>
                    <a:pt x="222" y="183149"/>
                    <a:pt x="2509" y="164857"/>
                    <a:pt x="7082" y="147485"/>
                  </a:cubicBezTo>
                  <a:close/>
                  <a:moveTo>
                    <a:pt x="51226" y="60817"/>
                  </a:moveTo>
                  <a:lnTo>
                    <a:pt x="225229" y="201918"/>
                  </a:lnTo>
                  <a:lnTo>
                    <a:pt x="21723" y="107247"/>
                  </a:lnTo>
                  <a:cubicBezTo>
                    <a:pt x="29504" y="90543"/>
                    <a:pt x="39571" y="74981"/>
                    <a:pt x="51226" y="60817"/>
                  </a:cubicBezTo>
                  <a:close/>
                  <a:moveTo>
                    <a:pt x="130335" y="0"/>
                  </a:moveTo>
                  <a:lnTo>
                    <a:pt x="225193" y="201842"/>
                  </a:lnTo>
                  <a:lnTo>
                    <a:pt x="83682" y="28805"/>
                  </a:lnTo>
                  <a:cubicBezTo>
                    <a:pt x="97878" y="17372"/>
                    <a:pt x="113408" y="7781"/>
                    <a:pt x="130335" y="0"/>
                  </a:cubicBezTo>
                  <a:close/>
                </a:path>
              </a:pathLst>
            </a:custGeom>
            <a:solidFill>
              <a:schemeClr val="accent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19" name="Inhaltsplatzhalter 18">
            <a:extLst>
              <a:ext uri="{FF2B5EF4-FFF2-40B4-BE49-F238E27FC236}">
                <a16:creationId xmlns:a16="http://schemas.microsoft.com/office/drawing/2014/main" id="{EA0F1769-10E8-A988-F711-DB28498A25E4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 bwMode="gray">
          <a:xfrm>
            <a:off x="10488487" y="5553236"/>
            <a:ext cx="1332038" cy="720564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">
                <a:noFill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">
                <a:noFill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">
                <a:noFill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">
                <a:noFill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">
                <a:noFill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">
                <a:noFill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">
                <a:noFill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">
                <a:noFill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">
                <a:noFill/>
              </a:defRPr>
            </a:lvl9pPr>
          </a:lstStyle>
          <a:p>
            <a:pPr lvl="0"/>
            <a:r>
              <a:rPr lang="en-US" noProof="1"/>
              <a:t>OE Logoplatzhalter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9DC890DB-CD17-4A1F-BD79-44804CD60EB3}"/>
              </a:ext>
            </a:extLst>
          </p:cNvPr>
          <p:cNvSpPr/>
          <p:nvPr userDrawn="1"/>
        </p:nvSpPr>
        <p:spPr bwMode="gray">
          <a:xfrm>
            <a:off x="12233756" y="5553236"/>
            <a:ext cx="1640680" cy="720564"/>
          </a:xfrm>
          <a:prstGeom prst="rect">
            <a:avLst/>
          </a:prstGeom>
          <a:solidFill>
            <a:schemeClr val="bg1"/>
          </a:solidFill>
          <a:ln w="6350"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44000" tIns="144000" rIns="144000" bIns="144000" rtlCol="0" anchor="ctr"/>
          <a:lstStyle/>
          <a:p>
            <a:pPr algn="l"/>
            <a:r>
              <a:rPr lang="en-US" sz="1000" b="1" dirty="0">
                <a:solidFill>
                  <a:schemeClr val="tx1"/>
                </a:solidFill>
              </a:rPr>
              <a:t>OE-Logo (optional)</a:t>
            </a:r>
          </a:p>
          <a:p>
            <a:pPr algn="l"/>
            <a:r>
              <a:rPr lang="en-US" sz="1000" dirty="0">
                <a:solidFill>
                  <a:schemeClr val="tx1"/>
                </a:solidFill>
              </a:rPr>
              <a:t>Insert with a click on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the image icon</a:t>
            </a:r>
            <a:endParaRPr lang="en-US" sz="1000" b="1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22445730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x Text and Picture (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05B1CE1-6CC9-F59B-4D70-B6BAA153740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71475" y="368299"/>
            <a:ext cx="7561263" cy="1008063"/>
          </a:xfrm>
        </p:spPr>
        <p:txBody>
          <a:bodyPr/>
          <a:lstStyle/>
          <a:p>
            <a:r>
              <a:rPr lang="en-US" dirty="0"/>
              <a:t>Add Title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7B8292EB-A174-4AF5-E760-21B84099238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371474" y="1592263"/>
            <a:ext cx="3671889" cy="4684711"/>
          </a:xfrm>
        </p:spPr>
        <p:txBody>
          <a:bodyPr/>
          <a:lstStyle/>
          <a:p>
            <a:pPr lvl="0"/>
            <a:r>
              <a:rPr lang="en-US" dirty="0"/>
              <a:t>Add text</a:t>
            </a:r>
          </a:p>
        </p:txBody>
      </p:sp>
      <p:sp>
        <p:nvSpPr>
          <p:cNvPr id="3" name="Textplatzhalter 7">
            <a:extLst>
              <a:ext uri="{FF2B5EF4-FFF2-40B4-BE49-F238E27FC236}">
                <a16:creationId xmlns:a16="http://schemas.microsoft.com/office/drawing/2014/main" id="{7600DACF-0260-C244-6BC3-A95B98E320D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260849" y="1592263"/>
            <a:ext cx="3671889" cy="4684711"/>
          </a:xfrm>
        </p:spPr>
        <p:txBody>
          <a:bodyPr/>
          <a:lstStyle/>
          <a:p>
            <a:pPr lvl="0"/>
            <a:r>
              <a:rPr lang="en-US" dirty="0"/>
              <a:t>Add text</a:t>
            </a:r>
          </a:p>
        </p:txBody>
      </p:sp>
      <p:sp>
        <p:nvSpPr>
          <p:cNvPr id="7" name="Bildplatzhalter 15">
            <a:extLst>
              <a:ext uri="{FF2B5EF4-FFF2-40B4-BE49-F238E27FC236}">
                <a16:creationId xmlns:a16="http://schemas.microsoft.com/office/drawing/2014/main" id="{3D7FEBCC-B6B1-D6F4-B8C4-39CAEC3BF559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8148638" y="1"/>
            <a:ext cx="4043361" cy="6857999"/>
          </a:xfrm>
        </p:spPr>
        <p:txBody>
          <a:bodyPr tIns="900000" anchor="ctr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00"/>
            </a:lvl1pPr>
          </a:lstStyle>
          <a:p>
            <a:r>
              <a:rPr lang="en-US" dirty="0"/>
              <a:t>Insert picture by clicking on the symbol. </a:t>
            </a:r>
            <a:br>
              <a:rPr lang="en-US" dirty="0"/>
            </a:br>
            <a:br>
              <a:rPr lang="en-US" dirty="0"/>
            </a:br>
            <a:r>
              <a:rPr lang="en-US" dirty="0"/>
              <a:t>Alternatively, copy the image to the clipboard,</a:t>
            </a:r>
            <a:br>
              <a:rPr lang="en-US" dirty="0"/>
            </a:br>
            <a:r>
              <a:rPr lang="en-US" dirty="0"/>
              <a:t> select the placeholder and paste the image.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DD70B73C-0CF1-5C0D-6E7E-0F2140886ACB}"/>
              </a:ext>
            </a:extLst>
          </p:cNvPr>
          <p:cNvSpPr/>
          <p:nvPr userDrawn="1"/>
        </p:nvSpPr>
        <p:spPr bwMode="gray">
          <a:xfrm>
            <a:off x="12233756" y="6026150"/>
            <a:ext cx="1963144" cy="828677"/>
          </a:xfrm>
          <a:prstGeom prst="rect">
            <a:avLst/>
          </a:prstGeom>
          <a:solidFill>
            <a:schemeClr val="bg1"/>
          </a:solidFill>
          <a:ln w="6350"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44000" tIns="144000" rIns="144000" bIns="144000" rtlCol="0" anchor="ctr"/>
          <a:lstStyle/>
          <a:p>
            <a:pPr algn="l"/>
            <a:r>
              <a:rPr lang="en-US" sz="1000" b="1" dirty="0">
                <a:solidFill>
                  <a:schemeClr val="tx1"/>
                </a:solidFill>
              </a:rPr>
              <a:t>Logo Color</a:t>
            </a:r>
          </a:p>
          <a:p>
            <a:pPr algn="l"/>
            <a:r>
              <a:rPr lang="en-US" sz="1000" dirty="0">
                <a:solidFill>
                  <a:schemeClr val="tx1"/>
                </a:solidFill>
              </a:rPr>
              <a:t>For light images,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the logo color can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be changed to black.</a:t>
            </a:r>
          </a:p>
        </p:txBody>
      </p:sp>
      <p:sp>
        <p:nvSpPr>
          <p:cNvPr id="10" name="Datumsplatzhalter 9">
            <a:extLst>
              <a:ext uri="{FF2B5EF4-FFF2-40B4-BE49-F238E27FC236}">
                <a16:creationId xmlns:a16="http://schemas.microsoft.com/office/drawing/2014/main" id="{F79FA06E-4A79-9BE7-7176-0CDABBFDEA0B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EEC2F8AC-7E4D-40DF-A811-CA1DDF83347A}" type="datetime3">
              <a:rPr lang="de-DE" smtClean="0"/>
              <a:t>01/07/2025</a:t>
            </a:fld>
            <a:endParaRPr lang="en-US" dirty="0"/>
          </a:p>
        </p:txBody>
      </p:sp>
      <p:sp>
        <p:nvSpPr>
          <p:cNvPr id="11" name="Fußzeilenplatzhalter 10">
            <a:extLst>
              <a:ext uri="{FF2B5EF4-FFF2-40B4-BE49-F238E27FC236}">
                <a16:creationId xmlns:a16="http://schemas.microsoft.com/office/drawing/2014/main" id="{ECACCEBE-2A95-EBE4-CD9F-A6EDDA249675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US"/>
              <a:t>Name - Title of Presentation</a:t>
            </a:r>
            <a:endParaRPr lang="en-US" dirty="0"/>
          </a:p>
        </p:txBody>
      </p:sp>
      <p:sp>
        <p:nvSpPr>
          <p:cNvPr id="12" name="Foliennummernplatzhalter 11">
            <a:extLst>
              <a:ext uri="{FF2B5EF4-FFF2-40B4-BE49-F238E27FC236}">
                <a16:creationId xmlns:a16="http://schemas.microsoft.com/office/drawing/2014/main" id="{4930C461-1671-0A4D-6841-C1DA8B5BA1B0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776FC98F-84AD-404B-BCCB-49E092AA6DE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SmartArt Placeholder 3">
            <a:extLst>
              <a:ext uri="{FF2B5EF4-FFF2-40B4-BE49-F238E27FC236}">
                <a16:creationId xmlns:a16="http://schemas.microsoft.com/office/drawing/2014/main" id="{EA6D74CA-A6BA-B921-DEB9-D6A49E43D2ED}"/>
              </a:ext>
            </a:extLst>
          </p:cNvPr>
          <p:cNvSpPr>
            <a:spLocks noGrp="1" noChangeAspect="1"/>
          </p:cNvSpPr>
          <p:nvPr>
            <p:ph type="dgm" sz="quarter" idx="21" hasCustomPrompt="1"/>
          </p:nvPr>
        </p:nvSpPr>
        <p:spPr bwMode="gray">
          <a:xfrm>
            <a:off x="11140463" y="6437457"/>
            <a:ext cx="689586" cy="247362"/>
          </a:xfrm>
          <a:custGeom>
            <a:avLst/>
            <a:gdLst>
              <a:gd name="connsiteX0" fmla="*/ 526439 w 689586"/>
              <a:gd name="connsiteY0" fmla="*/ 247 h 247362"/>
              <a:gd name="connsiteX1" fmla="*/ 689586 w 689586"/>
              <a:gd name="connsiteY1" fmla="*/ 247 h 247362"/>
              <a:gd name="connsiteX2" fmla="*/ 689586 w 689586"/>
              <a:gd name="connsiteY2" fmla="*/ 55816 h 247362"/>
              <a:gd name="connsiteX3" fmla="*/ 641876 w 689586"/>
              <a:gd name="connsiteY3" fmla="*/ 55816 h 247362"/>
              <a:gd name="connsiteX4" fmla="*/ 641876 w 689586"/>
              <a:gd name="connsiteY4" fmla="*/ 247362 h 247362"/>
              <a:gd name="connsiteX5" fmla="*/ 574149 w 689586"/>
              <a:gd name="connsiteY5" fmla="*/ 247362 h 247362"/>
              <a:gd name="connsiteX6" fmla="*/ 574149 w 689586"/>
              <a:gd name="connsiteY6" fmla="*/ 55816 h 247362"/>
              <a:gd name="connsiteX7" fmla="*/ 526439 w 689586"/>
              <a:gd name="connsiteY7" fmla="*/ 55816 h 247362"/>
              <a:gd name="connsiteX8" fmla="*/ 442470 w 689586"/>
              <a:gd name="connsiteY8" fmla="*/ 247 h 247362"/>
              <a:gd name="connsiteX9" fmla="*/ 510194 w 689586"/>
              <a:gd name="connsiteY9" fmla="*/ 247 h 247362"/>
              <a:gd name="connsiteX10" fmla="*/ 510194 w 689586"/>
              <a:gd name="connsiteY10" fmla="*/ 247116 h 247362"/>
              <a:gd name="connsiteX11" fmla="*/ 442470 w 689586"/>
              <a:gd name="connsiteY11" fmla="*/ 247116 h 247362"/>
              <a:gd name="connsiteX12" fmla="*/ 248102 w 689586"/>
              <a:gd name="connsiteY12" fmla="*/ 247 h 247362"/>
              <a:gd name="connsiteX13" fmla="*/ 250146 w 689586"/>
              <a:gd name="connsiteY13" fmla="*/ 247 h 247362"/>
              <a:gd name="connsiteX14" fmla="*/ 249899 w 689586"/>
              <a:gd name="connsiteY14" fmla="*/ 247077 h 247362"/>
              <a:gd name="connsiteX15" fmla="*/ 249900 w 689586"/>
              <a:gd name="connsiteY15" fmla="*/ 247078 h 247362"/>
              <a:gd name="connsiteX16" fmla="*/ 249900 w 689586"/>
              <a:gd name="connsiteY16" fmla="*/ 247113 h 247362"/>
              <a:gd name="connsiteX17" fmla="*/ 249899 w 689586"/>
              <a:gd name="connsiteY17" fmla="*/ 247111 h 247362"/>
              <a:gd name="connsiteX18" fmla="*/ 249899 w 689586"/>
              <a:gd name="connsiteY18" fmla="*/ 247113 h 247362"/>
              <a:gd name="connsiteX19" fmla="*/ 249899 w 689586"/>
              <a:gd name="connsiteY19" fmla="*/ 247114 h 247362"/>
              <a:gd name="connsiteX20" fmla="*/ 249899 w 689586"/>
              <a:gd name="connsiteY20" fmla="*/ 247116 h 247362"/>
              <a:gd name="connsiteX21" fmla="*/ 249864 w 689586"/>
              <a:gd name="connsiteY21" fmla="*/ 247116 h 247362"/>
              <a:gd name="connsiteX22" fmla="*/ 249864 w 689586"/>
              <a:gd name="connsiteY22" fmla="*/ 247114 h 247362"/>
              <a:gd name="connsiteX23" fmla="*/ 0 w 689586"/>
              <a:gd name="connsiteY23" fmla="*/ 247114 h 247362"/>
              <a:gd name="connsiteX24" fmla="*/ 7858 w 689586"/>
              <a:gd name="connsiteY24" fmla="*/ 186719 h 247362"/>
              <a:gd name="connsiteX25" fmla="*/ 249861 w 689586"/>
              <a:gd name="connsiteY25" fmla="*/ 247105 h 247362"/>
              <a:gd name="connsiteX26" fmla="*/ 249859 w 689586"/>
              <a:gd name="connsiteY26" fmla="*/ 247095 h 247362"/>
              <a:gd name="connsiteX27" fmla="*/ 24103 w 689586"/>
              <a:gd name="connsiteY27" fmla="*/ 142073 h 247362"/>
              <a:gd name="connsiteX28" fmla="*/ 56837 w 689586"/>
              <a:gd name="connsiteY28" fmla="*/ 90557 h 247362"/>
              <a:gd name="connsiteX29" fmla="*/ 249854 w 689586"/>
              <a:gd name="connsiteY29" fmla="*/ 247076 h 247362"/>
              <a:gd name="connsiteX30" fmla="*/ 249834 w 689586"/>
              <a:gd name="connsiteY30" fmla="*/ 246997 h 247362"/>
              <a:gd name="connsiteX31" fmla="*/ 92849 w 689586"/>
              <a:gd name="connsiteY31" fmla="*/ 55039 h 247362"/>
              <a:gd name="connsiteX32" fmla="*/ 144612 w 689586"/>
              <a:gd name="connsiteY32" fmla="*/ 23078 h 247362"/>
              <a:gd name="connsiteX33" fmla="*/ 249821 w 689586"/>
              <a:gd name="connsiteY33" fmla="*/ 246945 h 247362"/>
              <a:gd name="connsiteX34" fmla="*/ 189750 w 689586"/>
              <a:gd name="connsiteY34" fmla="*/ 7364 h 247362"/>
              <a:gd name="connsiteX35" fmla="*/ 248102 w 689586"/>
              <a:gd name="connsiteY35" fmla="*/ 247 h 247362"/>
              <a:gd name="connsiteX36" fmla="*/ 352898 w 689586"/>
              <a:gd name="connsiteY36" fmla="*/ 0 h 247362"/>
              <a:gd name="connsiteX37" fmla="*/ 430524 w 689586"/>
              <a:gd name="connsiteY37" fmla="*/ 0 h 247362"/>
              <a:gd name="connsiteX38" fmla="*/ 330557 w 689586"/>
              <a:gd name="connsiteY38" fmla="*/ 124315 h 247362"/>
              <a:gd name="connsiteX39" fmla="*/ 431017 w 689586"/>
              <a:gd name="connsiteY39" fmla="*/ 247116 h 247362"/>
              <a:gd name="connsiteX40" fmla="*/ 355716 w 689586"/>
              <a:gd name="connsiteY40" fmla="*/ 247116 h 247362"/>
              <a:gd name="connsiteX41" fmla="*/ 266144 w 689586"/>
              <a:gd name="connsiteY41" fmla="*/ 150954 h 247362"/>
              <a:gd name="connsiteX42" fmla="*/ 266144 w 689586"/>
              <a:gd name="connsiteY42" fmla="*/ 95916 h 2473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</a:cxnLst>
            <a:rect l="l" t="t" r="r" b="b"/>
            <a:pathLst>
              <a:path w="689586" h="247362">
                <a:moveTo>
                  <a:pt x="526439" y="247"/>
                </a:moveTo>
                <a:lnTo>
                  <a:pt x="689586" y="247"/>
                </a:lnTo>
                <a:lnTo>
                  <a:pt x="689586" y="55816"/>
                </a:lnTo>
                <a:lnTo>
                  <a:pt x="641876" y="55816"/>
                </a:lnTo>
                <a:lnTo>
                  <a:pt x="641876" y="247362"/>
                </a:lnTo>
                <a:lnTo>
                  <a:pt x="574149" y="247362"/>
                </a:lnTo>
                <a:lnTo>
                  <a:pt x="574149" y="55816"/>
                </a:lnTo>
                <a:lnTo>
                  <a:pt x="526439" y="55816"/>
                </a:lnTo>
                <a:close/>
                <a:moveTo>
                  <a:pt x="442470" y="247"/>
                </a:moveTo>
                <a:lnTo>
                  <a:pt x="510194" y="247"/>
                </a:lnTo>
                <a:lnTo>
                  <a:pt x="510194" y="247116"/>
                </a:lnTo>
                <a:lnTo>
                  <a:pt x="442470" y="247116"/>
                </a:lnTo>
                <a:close/>
                <a:moveTo>
                  <a:pt x="248102" y="247"/>
                </a:moveTo>
                <a:lnTo>
                  <a:pt x="250146" y="247"/>
                </a:lnTo>
                <a:lnTo>
                  <a:pt x="249899" y="247077"/>
                </a:lnTo>
                <a:lnTo>
                  <a:pt x="249900" y="247078"/>
                </a:lnTo>
                <a:lnTo>
                  <a:pt x="249900" y="247113"/>
                </a:lnTo>
                <a:lnTo>
                  <a:pt x="249899" y="247111"/>
                </a:lnTo>
                <a:lnTo>
                  <a:pt x="249899" y="247113"/>
                </a:lnTo>
                <a:lnTo>
                  <a:pt x="249899" y="247114"/>
                </a:lnTo>
                <a:lnTo>
                  <a:pt x="249899" y="247116"/>
                </a:lnTo>
                <a:lnTo>
                  <a:pt x="249864" y="247116"/>
                </a:lnTo>
                <a:lnTo>
                  <a:pt x="249864" y="247114"/>
                </a:lnTo>
                <a:lnTo>
                  <a:pt x="0" y="247114"/>
                </a:lnTo>
                <a:cubicBezTo>
                  <a:pt x="246" y="226289"/>
                  <a:pt x="2784" y="205994"/>
                  <a:pt x="7858" y="186719"/>
                </a:cubicBezTo>
                <a:lnTo>
                  <a:pt x="249861" y="247105"/>
                </a:lnTo>
                <a:lnTo>
                  <a:pt x="249859" y="247095"/>
                </a:lnTo>
                <a:lnTo>
                  <a:pt x="24103" y="142073"/>
                </a:lnTo>
                <a:cubicBezTo>
                  <a:pt x="32736" y="123539"/>
                  <a:pt x="43906" y="106273"/>
                  <a:pt x="56837" y="90557"/>
                </a:cubicBezTo>
                <a:lnTo>
                  <a:pt x="249854" y="247076"/>
                </a:lnTo>
                <a:lnTo>
                  <a:pt x="249834" y="246997"/>
                </a:lnTo>
                <a:lnTo>
                  <a:pt x="92849" y="55039"/>
                </a:lnTo>
                <a:cubicBezTo>
                  <a:pt x="108600" y="42353"/>
                  <a:pt x="125831" y="31712"/>
                  <a:pt x="144612" y="23078"/>
                </a:cubicBezTo>
                <a:lnTo>
                  <a:pt x="249821" y="246945"/>
                </a:lnTo>
                <a:lnTo>
                  <a:pt x="189750" y="7364"/>
                </a:lnTo>
                <a:cubicBezTo>
                  <a:pt x="208531" y="2784"/>
                  <a:pt x="228052" y="247"/>
                  <a:pt x="248102" y="247"/>
                </a:cubicBezTo>
                <a:close/>
                <a:moveTo>
                  <a:pt x="352898" y="0"/>
                </a:moveTo>
                <a:lnTo>
                  <a:pt x="430524" y="0"/>
                </a:lnTo>
                <a:lnTo>
                  <a:pt x="330557" y="124315"/>
                </a:lnTo>
                <a:lnTo>
                  <a:pt x="431017" y="247116"/>
                </a:lnTo>
                <a:lnTo>
                  <a:pt x="355716" y="247116"/>
                </a:lnTo>
                <a:lnTo>
                  <a:pt x="266144" y="150954"/>
                </a:lnTo>
                <a:lnTo>
                  <a:pt x="266144" y="95916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r>
              <a:rPr lang="en-US" noProof="1"/>
              <a:t> dsafasdfadsfdsfasdfsadfasdfadsf sdaf asdfasdf</a:t>
            </a:r>
          </a:p>
        </p:txBody>
      </p:sp>
    </p:spTree>
    <p:extLst>
      <p:ext uri="{BB962C8B-B14F-4D97-AF65-F5344CB8AC3E}">
        <p14:creationId xmlns:p14="http://schemas.microsoft.com/office/powerpoint/2010/main" val="1536794421"/>
      </p:ext>
    </p:extLst>
  </p:cSld>
  <p:clrMapOvr>
    <a:masterClrMapping/>
  </p:clrMapOvr>
  <p:transition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x Text and 2x Picture (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05B1CE1-6CC9-F59B-4D70-B6BAA153740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71475" y="368299"/>
            <a:ext cx="7561263" cy="1008063"/>
          </a:xfrm>
        </p:spPr>
        <p:txBody>
          <a:bodyPr/>
          <a:lstStyle/>
          <a:p>
            <a:r>
              <a:rPr lang="en-US" dirty="0"/>
              <a:t>Add Title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7B8292EB-A174-4AF5-E760-21B84099238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371474" y="1592263"/>
            <a:ext cx="3671889" cy="4684711"/>
          </a:xfrm>
        </p:spPr>
        <p:txBody>
          <a:bodyPr/>
          <a:lstStyle/>
          <a:p>
            <a:pPr lvl="0"/>
            <a:r>
              <a:rPr lang="en-US" dirty="0"/>
              <a:t>Add text</a:t>
            </a:r>
          </a:p>
        </p:txBody>
      </p:sp>
      <p:sp>
        <p:nvSpPr>
          <p:cNvPr id="3" name="Textplatzhalter 7">
            <a:extLst>
              <a:ext uri="{FF2B5EF4-FFF2-40B4-BE49-F238E27FC236}">
                <a16:creationId xmlns:a16="http://schemas.microsoft.com/office/drawing/2014/main" id="{7600DACF-0260-C244-6BC3-A95B98E320D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260849" y="1592263"/>
            <a:ext cx="3671889" cy="4684711"/>
          </a:xfrm>
        </p:spPr>
        <p:txBody>
          <a:bodyPr/>
          <a:lstStyle/>
          <a:p>
            <a:pPr lvl="0"/>
            <a:r>
              <a:rPr lang="en-US" dirty="0"/>
              <a:t>Add text</a:t>
            </a:r>
          </a:p>
        </p:txBody>
      </p:sp>
      <p:sp>
        <p:nvSpPr>
          <p:cNvPr id="7" name="Bildplatzhalter 15">
            <a:extLst>
              <a:ext uri="{FF2B5EF4-FFF2-40B4-BE49-F238E27FC236}">
                <a16:creationId xmlns:a16="http://schemas.microsoft.com/office/drawing/2014/main" id="{3D7FEBCC-B6B1-D6F4-B8C4-39CAEC3BF559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8148638" y="0"/>
            <a:ext cx="4043361" cy="3428999"/>
          </a:xfrm>
        </p:spPr>
        <p:txBody>
          <a:bodyPr tIns="900000" anchor="ctr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00"/>
            </a:lvl1pPr>
          </a:lstStyle>
          <a:p>
            <a:r>
              <a:rPr lang="en-US" dirty="0"/>
              <a:t>Insert picture by clicking on the symbol. </a:t>
            </a:r>
            <a:br>
              <a:rPr lang="en-US" dirty="0"/>
            </a:br>
            <a:br>
              <a:rPr lang="en-US" dirty="0"/>
            </a:br>
            <a:r>
              <a:rPr lang="en-US" dirty="0"/>
              <a:t>Alternatively, copy the image to the clipboard,</a:t>
            </a:r>
            <a:br>
              <a:rPr lang="en-US" dirty="0"/>
            </a:br>
            <a:r>
              <a:rPr lang="en-US" dirty="0"/>
              <a:t> select the placeholder and paste the image.</a:t>
            </a:r>
          </a:p>
        </p:txBody>
      </p:sp>
      <p:sp>
        <p:nvSpPr>
          <p:cNvPr id="9" name="Bildplatzhalter 15">
            <a:extLst>
              <a:ext uri="{FF2B5EF4-FFF2-40B4-BE49-F238E27FC236}">
                <a16:creationId xmlns:a16="http://schemas.microsoft.com/office/drawing/2014/main" id="{8F5116AB-EDC8-4AAB-4B23-B0F880D31161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 bwMode="gray">
          <a:xfrm>
            <a:off x="8148638" y="3429000"/>
            <a:ext cx="4043361" cy="3428999"/>
          </a:xfrm>
        </p:spPr>
        <p:txBody>
          <a:bodyPr tIns="900000" anchor="ctr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00"/>
            </a:lvl1pPr>
          </a:lstStyle>
          <a:p>
            <a:r>
              <a:rPr lang="en-US" dirty="0"/>
              <a:t>Insert picture by clicking on the symbol. </a:t>
            </a:r>
            <a:br>
              <a:rPr lang="en-US" dirty="0"/>
            </a:br>
            <a:br>
              <a:rPr lang="en-US" dirty="0"/>
            </a:br>
            <a:r>
              <a:rPr lang="en-US" dirty="0"/>
              <a:t>Alternatively, copy the image to the clipboard,</a:t>
            </a:r>
            <a:br>
              <a:rPr lang="en-US" dirty="0"/>
            </a:br>
            <a:r>
              <a:rPr lang="en-US" dirty="0"/>
              <a:t> select the placeholder and paste the image.</a:t>
            </a: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E76EE313-5AAA-A0EA-8444-811EFE1191D0}"/>
              </a:ext>
            </a:extLst>
          </p:cNvPr>
          <p:cNvSpPr/>
          <p:nvPr userDrawn="1"/>
        </p:nvSpPr>
        <p:spPr bwMode="gray">
          <a:xfrm>
            <a:off x="12233756" y="6026150"/>
            <a:ext cx="1963144" cy="828677"/>
          </a:xfrm>
          <a:prstGeom prst="rect">
            <a:avLst/>
          </a:prstGeom>
          <a:solidFill>
            <a:schemeClr val="bg1"/>
          </a:solidFill>
          <a:ln w="6350"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44000" tIns="144000" rIns="144000" bIns="144000" rtlCol="0" anchor="ctr"/>
          <a:lstStyle/>
          <a:p>
            <a:pPr algn="l"/>
            <a:r>
              <a:rPr lang="en-US" sz="1000" b="1" dirty="0">
                <a:solidFill>
                  <a:schemeClr val="tx1"/>
                </a:solidFill>
              </a:rPr>
              <a:t>Logo Color</a:t>
            </a:r>
          </a:p>
          <a:p>
            <a:pPr algn="l"/>
            <a:r>
              <a:rPr lang="en-US" sz="1000" dirty="0">
                <a:solidFill>
                  <a:schemeClr val="tx1"/>
                </a:solidFill>
              </a:rPr>
              <a:t>For light images,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the logo color can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be changed to black.</a:t>
            </a:r>
          </a:p>
        </p:txBody>
      </p:sp>
      <p:sp>
        <p:nvSpPr>
          <p:cNvPr id="11" name="Datumsplatzhalter 10">
            <a:extLst>
              <a:ext uri="{FF2B5EF4-FFF2-40B4-BE49-F238E27FC236}">
                <a16:creationId xmlns:a16="http://schemas.microsoft.com/office/drawing/2014/main" id="{A1FC182A-F96F-5221-873F-3B2B5AAB8E5D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87CA15B4-929B-4BFD-8045-3817D9D96767}" type="datetime3">
              <a:rPr lang="de-DE" smtClean="0"/>
              <a:t>01/07/2025</a:t>
            </a:fld>
            <a:endParaRPr lang="en-US" dirty="0"/>
          </a:p>
        </p:txBody>
      </p:sp>
      <p:sp>
        <p:nvSpPr>
          <p:cNvPr id="12" name="Fußzeilenplatzhalter 11">
            <a:extLst>
              <a:ext uri="{FF2B5EF4-FFF2-40B4-BE49-F238E27FC236}">
                <a16:creationId xmlns:a16="http://schemas.microsoft.com/office/drawing/2014/main" id="{32C1A369-5E22-F1DC-FC91-3E67E0891AA5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Name - Title of Presentation</a:t>
            </a:r>
            <a:endParaRPr lang="en-US" dirty="0"/>
          </a:p>
        </p:txBody>
      </p:sp>
      <p:sp>
        <p:nvSpPr>
          <p:cNvPr id="13" name="Foliennummernplatzhalter 12">
            <a:extLst>
              <a:ext uri="{FF2B5EF4-FFF2-40B4-BE49-F238E27FC236}">
                <a16:creationId xmlns:a16="http://schemas.microsoft.com/office/drawing/2014/main" id="{1294EBFA-1C3B-20E4-7E18-EADCA4BF01EB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776FC98F-84AD-404B-BCCB-49E092AA6DE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SmartArt Placeholder 4">
            <a:extLst>
              <a:ext uri="{FF2B5EF4-FFF2-40B4-BE49-F238E27FC236}">
                <a16:creationId xmlns:a16="http://schemas.microsoft.com/office/drawing/2014/main" id="{687767C0-1F3D-3EB7-C35E-3DFC7F453FED}"/>
              </a:ext>
            </a:extLst>
          </p:cNvPr>
          <p:cNvSpPr>
            <a:spLocks noGrp="1" noChangeAspect="1"/>
          </p:cNvSpPr>
          <p:nvPr>
            <p:ph type="dgm" sz="quarter" idx="21" hasCustomPrompt="1"/>
          </p:nvPr>
        </p:nvSpPr>
        <p:spPr bwMode="gray">
          <a:xfrm>
            <a:off x="11140463" y="6437457"/>
            <a:ext cx="689586" cy="247362"/>
          </a:xfrm>
          <a:custGeom>
            <a:avLst/>
            <a:gdLst>
              <a:gd name="connsiteX0" fmla="*/ 526439 w 689586"/>
              <a:gd name="connsiteY0" fmla="*/ 247 h 247362"/>
              <a:gd name="connsiteX1" fmla="*/ 689586 w 689586"/>
              <a:gd name="connsiteY1" fmla="*/ 247 h 247362"/>
              <a:gd name="connsiteX2" fmla="*/ 689586 w 689586"/>
              <a:gd name="connsiteY2" fmla="*/ 55816 h 247362"/>
              <a:gd name="connsiteX3" fmla="*/ 641876 w 689586"/>
              <a:gd name="connsiteY3" fmla="*/ 55816 h 247362"/>
              <a:gd name="connsiteX4" fmla="*/ 641876 w 689586"/>
              <a:gd name="connsiteY4" fmla="*/ 247362 h 247362"/>
              <a:gd name="connsiteX5" fmla="*/ 574149 w 689586"/>
              <a:gd name="connsiteY5" fmla="*/ 247362 h 247362"/>
              <a:gd name="connsiteX6" fmla="*/ 574149 w 689586"/>
              <a:gd name="connsiteY6" fmla="*/ 55816 h 247362"/>
              <a:gd name="connsiteX7" fmla="*/ 526439 w 689586"/>
              <a:gd name="connsiteY7" fmla="*/ 55816 h 247362"/>
              <a:gd name="connsiteX8" fmla="*/ 442470 w 689586"/>
              <a:gd name="connsiteY8" fmla="*/ 247 h 247362"/>
              <a:gd name="connsiteX9" fmla="*/ 510194 w 689586"/>
              <a:gd name="connsiteY9" fmla="*/ 247 h 247362"/>
              <a:gd name="connsiteX10" fmla="*/ 510194 w 689586"/>
              <a:gd name="connsiteY10" fmla="*/ 247116 h 247362"/>
              <a:gd name="connsiteX11" fmla="*/ 442470 w 689586"/>
              <a:gd name="connsiteY11" fmla="*/ 247116 h 247362"/>
              <a:gd name="connsiteX12" fmla="*/ 248102 w 689586"/>
              <a:gd name="connsiteY12" fmla="*/ 247 h 247362"/>
              <a:gd name="connsiteX13" fmla="*/ 250146 w 689586"/>
              <a:gd name="connsiteY13" fmla="*/ 247 h 247362"/>
              <a:gd name="connsiteX14" fmla="*/ 249899 w 689586"/>
              <a:gd name="connsiteY14" fmla="*/ 247077 h 247362"/>
              <a:gd name="connsiteX15" fmla="*/ 249900 w 689586"/>
              <a:gd name="connsiteY15" fmla="*/ 247078 h 247362"/>
              <a:gd name="connsiteX16" fmla="*/ 249900 w 689586"/>
              <a:gd name="connsiteY16" fmla="*/ 247113 h 247362"/>
              <a:gd name="connsiteX17" fmla="*/ 249899 w 689586"/>
              <a:gd name="connsiteY17" fmla="*/ 247111 h 247362"/>
              <a:gd name="connsiteX18" fmla="*/ 249899 w 689586"/>
              <a:gd name="connsiteY18" fmla="*/ 247113 h 247362"/>
              <a:gd name="connsiteX19" fmla="*/ 249899 w 689586"/>
              <a:gd name="connsiteY19" fmla="*/ 247114 h 247362"/>
              <a:gd name="connsiteX20" fmla="*/ 249899 w 689586"/>
              <a:gd name="connsiteY20" fmla="*/ 247116 h 247362"/>
              <a:gd name="connsiteX21" fmla="*/ 249864 w 689586"/>
              <a:gd name="connsiteY21" fmla="*/ 247116 h 247362"/>
              <a:gd name="connsiteX22" fmla="*/ 249864 w 689586"/>
              <a:gd name="connsiteY22" fmla="*/ 247114 h 247362"/>
              <a:gd name="connsiteX23" fmla="*/ 0 w 689586"/>
              <a:gd name="connsiteY23" fmla="*/ 247114 h 247362"/>
              <a:gd name="connsiteX24" fmla="*/ 7858 w 689586"/>
              <a:gd name="connsiteY24" fmla="*/ 186719 h 247362"/>
              <a:gd name="connsiteX25" fmla="*/ 249861 w 689586"/>
              <a:gd name="connsiteY25" fmla="*/ 247105 h 247362"/>
              <a:gd name="connsiteX26" fmla="*/ 249859 w 689586"/>
              <a:gd name="connsiteY26" fmla="*/ 247095 h 247362"/>
              <a:gd name="connsiteX27" fmla="*/ 24103 w 689586"/>
              <a:gd name="connsiteY27" fmla="*/ 142073 h 247362"/>
              <a:gd name="connsiteX28" fmla="*/ 56837 w 689586"/>
              <a:gd name="connsiteY28" fmla="*/ 90557 h 247362"/>
              <a:gd name="connsiteX29" fmla="*/ 249854 w 689586"/>
              <a:gd name="connsiteY29" fmla="*/ 247076 h 247362"/>
              <a:gd name="connsiteX30" fmla="*/ 249834 w 689586"/>
              <a:gd name="connsiteY30" fmla="*/ 246997 h 247362"/>
              <a:gd name="connsiteX31" fmla="*/ 92849 w 689586"/>
              <a:gd name="connsiteY31" fmla="*/ 55039 h 247362"/>
              <a:gd name="connsiteX32" fmla="*/ 144612 w 689586"/>
              <a:gd name="connsiteY32" fmla="*/ 23078 h 247362"/>
              <a:gd name="connsiteX33" fmla="*/ 249821 w 689586"/>
              <a:gd name="connsiteY33" fmla="*/ 246945 h 247362"/>
              <a:gd name="connsiteX34" fmla="*/ 189750 w 689586"/>
              <a:gd name="connsiteY34" fmla="*/ 7364 h 247362"/>
              <a:gd name="connsiteX35" fmla="*/ 248102 w 689586"/>
              <a:gd name="connsiteY35" fmla="*/ 247 h 247362"/>
              <a:gd name="connsiteX36" fmla="*/ 352898 w 689586"/>
              <a:gd name="connsiteY36" fmla="*/ 0 h 247362"/>
              <a:gd name="connsiteX37" fmla="*/ 430524 w 689586"/>
              <a:gd name="connsiteY37" fmla="*/ 0 h 247362"/>
              <a:gd name="connsiteX38" fmla="*/ 330557 w 689586"/>
              <a:gd name="connsiteY38" fmla="*/ 124315 h 247362"/>
              <a:gd name="connsiteX39" fmla="*/ 431017 w 689586"/>
              <a:gd name="connsiteY39" fmla="*/ 247116 h 247362"/>
              <a:gd name="connsiteX40" fmla="*/ 355716 w 689586"/>
              <a:gd name="connsiteY40" fmla="*/ 247116 h 247362"/>
              <a:gd name="connsiteX41" fmla="*/ 266144 w 689586"/>
              <a:gd name="connsiteY41" fmla="*/ 150954 h 247362"/>
              <a:gd name="connsiteX42" fmla="*/ 266144 w 689586"/>
              <a:gd name="connsiteY42" fmla="*/ 95916 h 2473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</a:cxnLst>
            <a:rect l="l" t="t" r="r" b="b"/>
            <a:pathLst>
              <a:path w="689586" h="247362">
                <a:moveTo>
                  <a:pt x="526439" y="247"/>
                </a:moveTo>
                <a:lnTo>
                  <a:pt x="689586" y="247"/>
                </a:lnTo>
                <a:lnTo>
                  <a:pt x="689586" y="55816"/>
                </a:lnTo>
                <a:lnTo>
                  <a:pt x="641876" y="55816"/>
                </a:lnTo>
                <a:lnTo>
                  <a:pt x="641876" y="247362"/>
                </a:lnTo>
                <a:lnTo>
                  <a:pt x="574149" y="247362"/>
                </a:lnTo>
                <a:lnTo>
                  <a:pt x="574149" y="55816"/>
                </a:lnTo>
                <a:lnTo>
                  <a:pt x="526439" y="55816"/>
                </a:lnTo>
                <a:close/>
                <a:moveTo>
                  <a:pt x="442470" y="247"/>
                </a:moveTo>
                <a:lnTo>
                  <a:pt x="510194" y="247"/>
                </a:lnTo>
                <a:lnTo>
                  <a:pt x="510194" y="247116"/>
                </a:lnTo>
                <a:lnTo>
                  <a:pt x="442470" y="247116"/>
                </a:lnTo>
                <a:close/>
                <a:moveTo>
                  <a:pt x="248102" y="247"/>
                </a:moveTo>
                <a:lnTo>
                  <a:pt x="250146" y="247"/>
                </a:lnTo>
                <a:lnTo>
                  <a:pt x="249899" y="247077"/>
                </a:lnTo>
                <a:lnTo>
                  <a:pt x="249900" y="247078"/>
                </a:lnTo>
                <a:lnTo>
                  <a:pt x="249900" y="247113"/>
                </a:lnTo>
                <a:lnTo>
                  <a:pt x="249899" y="247111"/>
                </a:lnTo>
                <a:lnTo>
                  <a:pt x="249899" y="247113"/>
                </a:lnTo>
                <a:lnTo>
                  <a:pt x="249899" y="247114"/>
                </a:lnTo>
                <a:lnTo>
                  <a:pt x="249899" y="247116"/>
                </a:lnTo>
                <a:lnTo>
                  <a:pt x="249864" y="247116"/>
                </a:lnTo>
                <a:lnTo>
                  <a:pt x="249864" y="247114"/>
                </a:lnTo>
                <a:lnTo>
                  <a:pt x="0" y="247114"/>
                </a:lnTo>
                <a:cubicBezTo>
                  <a:pt x="246" y="226289"/>
                  <a:pt x="2784" y="205994"/>
                  <a:pt x="7858" y="186719"/>
                </a:cubicBezTo>
                <a:lnTo>
                  <a:pt x="249861" y="247105"/>
                </a:lnTo>
                <a:lnTo>
                  <a:pt x="249859" y="247095"/>
                </a:lnTo>
                <a:lnTo>
                  <a:pt x="24103" y="142073"/>
                </a:lnTo>
                <a:cubicBezTo>
                  <a:pt x="32736" y="123539"/>
                  <a:pt x="43906" y="106273"/>
                  <a:pt x="56837" y="90557"/>
                </a:cubicBezTo>
                <a:lnTo>
                  <a:pt x="249854" y="247076"/>
                </a:lnTo>
                <a:lnTo>
                  <a:pt x="249834" y="246997"/>
                </a:lnTo>
                <a:lnTo>
                  <a:pt x="92849" y="55039"/>
                </a:lnTo>
                <a:cubicBezTo>
                  <a:pt x="108600" y="42353"/>
                  <a:pt x="125831" y="31712"/>
                  <a:pt x="144612" y="23078"/>
                </a:cubicBezTo>
                <a:lnTo>
                  <a:pt x="249821" y="246945"/>
                </a:lnTo>
                <a:lnTo>
                  <a:pt x="189750" y="7364"/>
                </a:lnTo>
                <a:cubicBezTo>
                  <a:pt x="208531" y="2784"/>
                  <a:pt x="228052" y="247"/>
                  <a:pt x="248102" y="247"/>
                </a:cubicBezTo>
                <a:close/>
                <a:moveTo>
                  <a:pt x="352898" y="0"/>
                </a:moveTo>
                <a:lnTo>
                  <a:pt x="430524" y="0"/>
                </a:lnTo>
                <a:lnTo>
                  <a:pt x="330557" y="124315"/>
                </a:lnTo>
                <a:lnTo>
                  <a:pt x="431017" y="247116"/>
                </a:lnTo>
                <a:lnTo>
                  <a:pt x="355716" y="247116"/>
                </a:lnTo>
                <a:lnTo>
                  <a:pt x="266144" y="150954"/>
                </a:lnTo>
                <a:lnTo>
                  <a:pt x="266144" y="95916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r>
              <a:rPr lang="en-US" noProof="1"/>
              <a:t> dsafasdfadsfdsfasdfsadfasdfadsf sdaf asdfasdf</a:t>
            </a:r>
          </a:p>
        </p:txBody>
      </p:sp>
    </p:spTree>
    <p:extLst>
      <p:ext uri="{BB962C8B-B14F-4D97-AF65-F5344CB8AC3E}">
        <p14:creationId xmlns:p14="http://schemas.microsoft.com/office/powerpoint/2010/main" val="1209034911"/>
      </p:ext>
    </p:extLst>
  </p:cSld>
  <p:clrMapOvr>
    <a:masterClrMapping/>
  </p:clrMapOvr>
  <p:transition>
    <p:fad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 and Picture (M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05B1CE1-6CC9-F59B-4D70-B6BAA153740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71475" y="368299"/>
            <a:ext cx="5616575" cy="1008063"/>
          </a:xfrm>
        </p:spPr>
        <p:txBody>
          <a:bodyPr/>
          <a:lstStyle/>
          <a:p>
            <a:r>
              <a:rPr lang="en-US" dirty="0"/>
              <a:t>Add Title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7B8292EB-A174-4AF5-E760-21B84099238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371474" y="1592263"/>
            <a:ext cx="5616575" cy="4684711"/>
          </a:xfrm>
        </p:spPr>
        <p:txBody>
          <a:bodyPr/>
          <a:lstStyle/>
          <a:p>
            <a:pPr lvl="0"/>
            <a:r>
              <a:rPr lang="en-US" dirty="0"/>
              <a:t>Add text</a:t>
            </a:r>
          </a:p>
        </p:txBody>
      </p:sp>
      <p:sp>
        <p:nvSpPr>
          <p:cNvPr id="7" name="Bildplatzhalter 15">
            <a:extLst>
              <a:ext uri="{FF2B5EF4-FFF2-40B4-BE49-F238E27FC236}">
                <a16:creationId xmlns:a16="http://schemas.microsoft.com/office/drawing/2014/main" id="{3D7FEBCC-B6B1-D6F4-B8C4-39CAEC3BF559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6203950" y="1"/>
            <a:ext cx="5988049" cy="6857999"/>
          </a:xfrm>
        </p:spPr>
        <p:txBody>
          <a:bodyPr tIns="900000" anchor="ctr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00"/>
            </a:lvl1pPr>
          </a:lstStyle>
          <a:p>
            <a:r>
              <a:rPr lang="en-US" dirty="0"/>
              <a:t>Insert picture by clicking on the symbol. </a:t>
            </a:r>
            <a:br>
              <a:rPr lang="en-US" dirty="0"/>
            </a:br>
            <a:br>
              <a:rPr lang="en-US" dirty="0"/>
            </a:br>
            <a:r>
              <a:rPr lang="en-US" dirty="0"/>
              <a:t>Alternatively, copy the image to the clipboard,</a:t>
            </a:r>
            <a:br>
              <a:rPr lang="en-US" dirty="0"/>
            </a:br>
            <a:r>
              <a:rPr lang="en-US" dirty="0"/>
              <a:t> select the placeholder and paste the image.</a:t>
            </a:r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A6D641E1-639F-0493-BBF6-89BD42031440}"/>
              </a:ext>
            </a:extLst>
          </p:cNvPr>
          <p:cNvSpPr/>
          <p:nvPr userDrawn="1"/>
        </p:nvSpPr>
        <p:spPr bwMode="gray">
          <a:xfrm>
            <a:off x="12233756" y="6026150"/>
            <a:ext cx="1963144" cy="828677"/>
          </a:xfrm>
          <a:prstGeom prst="rect">
            <a:avLst/>
          </a:prstGeom>
          <a:solidFill>
            <a:schemeClr val="bg1"/>
          </a:solidFill>
          <a:ln w="6350"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44000" tIns="144000" rIns="144000" bIns="144000" rtlCol="0" anchor="ctr"/>
          <a:lstStyle/>
          <a:p>
            <a:pPr algn="l"/>
            <a:r>
              <a:rPr lang="en-US" sz="1000" b="1" dirty="0">
                <a:solidFill>
                  <a:schemeClr val="tx1"/>
                </a:solidFill>
              </a:rPr>
              <a:t>Logo Color</a:t>
            </a:r>
          </a:p>
          <a:p>
            <a:pPr algn="l"/>
            <a:r>
              <a:rPr lang="en-US" sz="1000" dirty="0">
                <a:solidFill>
                  <a:schemeClr val="tx1"/>
                </a:solidFill>
              </a:rPr>
              <a:t>For light images,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the logo color can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be changed to black.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B2E2E680-3FF9-ABDB-21FE-FBA027792160}"/>
              </a:ext>
            </a:extLst>
          </p:cNvPr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fld id="{83EB0422-72D0-4E96-8704-0F295A1C33A1}" type="datetime3">
              <a:rPr lang="de-DE" noProof="1" smtClean="0"/>
              <a:t>01/07/2025</a:t>
            </a:fld>
            <a:endParaRPr lang="en-US" noProof="1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A7A526B-BB77-0D6A-817F-6C40D944BDCE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>
          <a:xfrm>
            <a:off x="2100264" y="6273800"/>
            <a:ext cx="3887786" cy="584200"/>
          </a:xfrm>
        </p:spPr>
        <p:txBody>
          <a:bodyPr/>
          <a:lstStyle/>
          <a:p>
            <a:r>
              <a:rPr lang="en-US" noProof="1"/>
              <a:t>Name - Title of Presentation</a:t>
            </a:r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5BF4C557-2716-4BAC-1F79-F528FD3982DA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776FC98F-84AD-404B-BCCB-49E092AA6DE0}" type="slidenum">
              <a:rPr lang="en-US" noProof="1" smtClean="0"/>
              <a:pPr/>
              <a:t>‹#›</a:t>
            </a:fld>
            <a:endParaRPr lang="en-US" noProof="1"/>
          </a:p>
        </p:txBody>
      </p:sp>
      <p:sp>
        <p:nvSpPr>
          <p:cNvPr id="9" name="SmartArt Placeholder 8">
            <a:extLst>
              <a:ext uri="{FF2B5EF4-FFF2-40B4-BE49-F238E27FC236}">
                <a16:creationId xmlns:a16="http://schemas.microsoft.com/office/drawing/2014/main" id="{644C98EE-B3A7-7238-F3DE-A4EEE986D320}"/>
              </a:ext>
            </a:extLst>
          </p:cNvPr>
          <p:cNvSpPr>
            <a:spLocks noGrp="1" noChangeAspect="1"/>
          </p:cNvSpPr>
          <p:nvPr>
            <p:ph type="dgm" sz="quarter" idx="21" hasCustomPrompt="1"/>
          </p:nvPr>
        </p:nvSpPr>
        <p:spPr bwMode="gray">
          <a:xfrm>
            <a:off x="11140463" y="6437457"/>
            <a:ext cx="689586" cy="247362"/>
          </a:xfrm>
          <a:custGeom>
            <a:avLst/>
            <a:gdLst>
              <a:gd name="connsiteX0" fmla="*/ 526439 w 689586"/>
              <a:gd name="connsiteY0" fmla="*/ 247 h 247362"/>
              <a:gd name="connsiteX1" fmla="*/ 689586 w 689586"/>
              <a:gd name="connsiteY1" fmla="*/ 247 h 247362"/>
              <a:gd name="connsiteX2" fmla="*/ 689586 w 689586"/>
              <a:gd name="connsiteY2" fmla="*/ 55816 h 247362"/>
              <a:gd name="connsiteX3" fmla="*/ 641876 w 689586"/>
              <a:gd name="connsiteY3" fmla="*/ 55816 h 247362"/>
              <a:gd name="connsiteX4" fmla="*/ 641876 w 689586"/>
              <a:gd name="connsiteY4" fmla="*/ 247362 h 247362"/>
              <a:gd name="connsiteX5" fmla="*/ 574149 w 689586"/>
              <a:gd name="connsiteY5" fmla="*/ 247362 h 247362"/>
              <a:gd name="connsiteX6" fmla="*/ 574149 w 689586"/>
              <a:gd name="connsiteY6" fmla="*/ 55816 h 247362"/>
              <a:gd name="connsiteX7" fmla="*/ 526439 w 689586"/>
              <a:gd name="connsiteY7" fmla="*/ 55816 h 247362"/>
              <a:gd name="connsiteX8" fmla="*/ 442470 w 689586"/>
              <a:gd name="connsiteY8" fmla="*/ 247 h 247362"/>
              <a:gd name="connsiteX9" fmla="*/ 510194 w 689586"/>
              <a:gd name="connsiteY9" fmla="*/ 247 h 247362"/>
              <a:gd name="connsiteX10" fmla="*/ 510194 w 689586"/>
              <a:gd name="connsiteY10" fmla="*/ 247116 h 247362"/>
              <a:gd name="connsiteX11" fmla="*/ 442470 w 689586"/>
              <a:gd name="connsiteY11" fmla="*/ 247116 h 247362"/>
              <a:gd name="connsiteX12" fmla="*/ 248102 w 689586"/>
              <a:gd name="connsiteY12" fmla="*/ 247 h 247362"/>
              <a:gd name="connsiteX13" fmla="*/ 250146 w 689586"/>
              <a:gd name="connsiteY13" fmla="*/ 247 h 247362"/>
              <a:gd name="connsiteX14" fmla="*/ 249899 w 689586"/>
              <a:gd name="connsiteY14" fmla="*/ 247077 h 247362"/>
              <a:gd name="connsiteX15" fmla="*/ 249900 w 689586"/>
              <a:gd name="connsiteY15" fmla="*/ 247078 h 247362"/>
              <a:gd name="connsiteX16" fmla="*/ 249900 w 689586"/>
              <a:gd name="connsiteY16" fmla="*/ 247113 h 247362"/>
              <a:gd name="connsiteX17" fmla="*/ 249899 w 689586"/>
              <a:gd name="connsiteY17" fmla="*/ 247111 h 247362"/>
              <a:gd name="connsiteX18" fmla="*/ 249899 w 689586"/>
              <a:gd name="connsiteY18" fmla="*/ 247113 h 247362"/>
              <a:gd name="connsiteX19" fmla="*/ 249899 w 689586"/>
              <a:gd name="connsiteY19" fmla="*/ 247114 h 247362"/>
              <a:gd name="connsiteX20" fmla="*/ 249899 w 689586"/>
              <a:gd name="connsiteY20" fmla="*/ 247116 h 247362"/>
              <a:gd name="connsiteX21" fmla="*/ 249864 w 689586"/>
              <a:gd name="connsiteY21" fmla="*/ 247116 h 247362"/>
              <a:gd name="connsiteX22" fmla="*/ 249864 w 689586"/>
              <a:gd name="connsiteY22" fmla="*/ 247114 h 247362"/>
              <a:gd name="connsiteX23" fmla="*/ 0 w 689586"/>
              <a:gd name="connsiteY23" fmla="*/ 247114 h 247362"/>
              <a:gd name="connsiteX24" fmla="*/ 7858 w 689586"/>
              <a:gd name="connsiteY24" fmla="*/ 186719 h 247362"/>
              <a:gd name="connsiteX25" fmla="*/ 249861 w 689586"/>
              <a:gd name="connsiteY25" fmla="*/ 247105 h 247362"/>
              <a:gd name="connsiteX26" fmla="*/ 249859 w 689586"/>
              <a:gd name="connsiteY26" fmla="*/ 247095 h 247362"/>
              <a:gd name="connsiteX27" fmla="*/ 24103 w 689586"/>
              <a:gd name="connsiteY27" fmla="*/ 142073 h 247362"/>
              <a:gd name="connsiteX28" fmla="*/ 56837 w 689586"/>
              <a:gd name="connsiteY28" fmla="*/ 90557 h 247362"/>
              <a:gd name="connsiteX29" fmla="*/ 249854 w 689586"/>
              <a:gd name="connsiteY29" fmla="*/ 247076 h 247362"/>
              <a:gd name="connsiteX30" fmla="*/ 249834 w 689586"/>
              <a:gd name="connsiteY30" fmla="*/ 246997 h 247362"/>
              <a:gd name="connsiteX31" fmla="*/ 92849 w 689586"/>
              <a:gd name="connsiteY31" fmla="*/ 55039 h 247362"/>
              <a:gd name="connsiteX32" fmla="*/ 144612 w 689586"/>
              <a:gd name="connsiteY32" fmla="*/ 23078 h 247362"/>
              <a:gd name="connsiteX33" fmla="*/ 249821 w 689586"/>
              <a:gd name="connsiteY33" fmla="*/ 246945 h 247362"/>
              <a:gd name="connsiteX34" fmla="*/ 189750 w 689586"/>
              <a:gd name="connsiteY34" fmla="*/ 7364 h 247362"/>
              <a:gd name="connsiteX35" fmla="*/ 248102 w 689586"/>
              <a:gd name="connsiteY35" fmla="*/ 247 h 247362"/>
              <a:gd name="connsiteX36" fmla="*/ 352898 w 689586"/>
              <a:gd name="connsiteY36" fmla="*/ 0 h 247362"/>
              <a:gd name="connsiteX37" fmla="*/ 430524 w 689586"/>
              <a:gd name="connsiteY37" fmla="*/ 0 h 247362"/>
              <a:gd name="connsiteX38" fmla="*/ 330557 w 689586"/>
              <a:gd name="connsiteY38" fmla="*/ 124315 h 247362"/>
              <a:gd name="connsiteX39" fmla="*/ 431017 w 689586"/>
              <a:gd name="connsiteY39" fmla="*/ 247116 h 247362"/>
              <a:gd name="connsiteX40" fmla="*/ 355716 w 689586"/>
              <a:gd name="connsiteY40" fmla="*/ 247116 h 247362"/>
              <a:gd name="connsiteX41" fmla="*/ 266144 w 689586"/>
              <a:gd name="connsiteY41" fmla="*/ 150954 h 247362"/>
              <a:gd name="connsiteX42" fmla="*/ 266144 w 689586"/>
              <a:gd name="connsiteY42" fmla="*/ 95916 h 2473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</a:cxnLst>
            <a:rect l="l" t="t" r="r" b="b"/>
            <a:pathLst>
              <a:path w="689586" h="247362">
                <a:moveTo>
                  <a:pt x="526439" y="247"/>
                </a:moveTo>
                <a:lnTo>
                  <a:pt x="689586" y="247"/>
                </a:lnTo>
                <a:lnTo>
                  <a:pt x="689586" y="55816"/>
                </a:lnTo>
                <a:lnTo>
                  <a:pt x="641876" y="55816"/>
                </a:lnTo>
                <a:lnTo>
                  <a:pt x="641876" y="247362"/>
                </a:lnTo>
                <a:lnTo>
                  <a:pt x="574149" y="247362"/>
                </a:lnTo>
                <a:lnTo>
                  <a:pt x="574149" y="55816"/>
                </a:lnTo>
                <a:lnTo>
                  <a:pt x="526439" y="55816"/>
                </a:lnTo>
                <a:close/>
                <a:moveTo>
                  <a:pt x="442470" y="247"/>
                </a:moveTo>
                <a:lnTo>
                  <a:pt x="510194" y="247"/>
                </a:lnTo>
                <a:lnTo>
                  <a:pt x="510194" y="247116"/>
                </a:lnTo>
                <a:lnTo>
                  <a:pt x="442470" y="247116"/>
                </a:lnTo>
                <a:close/>
                <a:moveTo>
                  <a:pt x="248102" y="247"/>
                </a:moveTo>
                <a:lnTo>
                  <a:pt x="250146" y="247"/>
                </a:lnTo>
                <a:lnTo>
                  <a:pt x="249899" y="247077"/>
                </a:lnTo>
                <a:lnTo>
                  <a:pt x="249900" y="247078"/>
                </a:lnTo>
                <a:lnTo>
                  <a:pt x="249900" y="247113"/>
                </a:lnTo>
                <a:lnTo>
                  <a:pt x="249899" y="247111"/>
                </a:lnTo>
                <a:lnTo>
                  <a:pt x="249899" y="247113"/>
                </a:lnTo>
                <a:lnTo>
                  <a:pt x="249899" y="247114"/>
                </a:lnTo>
                <a:lnTo>
                  <a:pt x="249899" y="247116"/>
                </a:lnTo>
                <a:lnTo>
                  <a:pt x="249864" y="247116"/>
                </a:lnTo>
                <a:lnTo>
                  <a:pt x="249864" y="247114"/>
                </a:lnTo>
                <a:lnTo>
                  <a:pt x="0" y="247114"/>
                </a:lnTo>
                <a:cubicBezTo>
                  <a:pt x="246" y="226289"/>
                  <a:pt x="2784" y="205994"/>
                  <a:pt x="7858" y="186719"/>
                </a:cubicBezTo>
                <a:lnTo>
                  <a:pt x="249861" y="247105"/>
                </a:lnTo>
                <a:lnTo>
                  <a:pt x="249859" y="247095"/>
                </a:lnTo>
                <a:lnTo>
                  <a:pt x="24103" y="142073"/>
                </a:lnTo>
                <a:cubicBezTo>
                  <a:pt x="32736" y="123539"/>
                  <a:pt x="43906" y="106273"/>
                  <a:pt x="56837" y="90557"/>
                </a:cubicBezTo>
                <a:lnTo>
                  <a:pt x="249854" y="247076"/>
                </a:lnTo>
                <a:lnTo>
                  <a:pt x="249834" y="246997"/>
                </a:lnTo>
                <a:lnTo>
                  <a:pt x="92849" y="55039"/>
                </a:lnTo>
                <a:cubicBezTo>
                  <a:pt x="108600" y="42353"/>
                  <a:pt x="125831" y="31712"/>
                  <a:pt x="144612" y="23078"/>
                </a:cubicBezTo>
                <a:lnTo>
                  <a:pt x="249821" y="246945"/>
                </a:lnTo>
                <a:lnTo>
                  <a:pt x="189750" y="7364"/>
                </a:lnTo>
                <a:cubicBezTo>
                  <a:pt x="208531" y="2784"/>
                  <a:pt x="228052" y="247"/>
                  <a:pt x="248102" y="247"/>
                </a:cubicBezTo>
                <a:close/>
                <a:moveTo>
                  <a:pt x="352898" y="0"/>
                </a:moveTo>
                <a:lnTo>
                  <a:pt x="430524" y="0"/>
                </a:lnTo>
                <a:lnTo>
                  <a:pt x="330557" y="124315"/>
                </a:lnTo>
                <a:lnTo>
                  <a:pt x="431017" y="247116"/>
                </a:lnTo>
                <a:lnTo>
                  <a:pt x="355716" y="247116"/>
                </a:lnTo>
                <a:lnTo>
                  <a:pt x="266144" y="150954"/>
                </a:lnTo>
                <a:lnTo>
                  <a:pt x="266144" y="95916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r>
              <a:rPr lang="en-US" noProof="1"/>
              <a:t> dsafasdfadsfdsfasdfsadfasdfadsf sdaf asdfasdf</a:t>
            </a:r>
          </a:p>
        </p:txBody>
      </p:sp>
    </p:spTree>
    <p:extLst>
      <p:ext uri="{BB962C8B-B14F-4D97-AF65-F5344CB8AC3E}">
        <p14:creationId xmlns:p14="http://schemas.microsoft.com/office/powerpoint/2010/main" val="443573806"/>
      </p:ext>
    </p:extLst>
  </p:cSld>
  <p:clrMapOvr>
    <a:masterClrMapping/>
  </p:clrMapOvr>
  <p:transition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 and 2x Picture (M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05B1CE1-6CC9-F59B-4D70-B6BAA153740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71475" y="368299"/>
            <a:ext cx="5616575" cy="1008063"/>
          </a:xfrm>
        </p:spPr>
        <p:txBody>
          <a:bodyPr/>
          <a:lstStyle/>
          <a:p>
            <a:r>
              <a:rPr lang="en-US" dirty="0"/>
              <a:t>Add Title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7B8292EB-A174-4AF5-E760-21B84099238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371474" y="1592263"/>
            <a:ext cx="5616575" cy="4684711"/>
          </a:xfrm>
        </p:spPr>
        <p:txBody>
          <a:bodyPr/>
          <a:lstStyle/>
          <a:p>
            <a:pPr lvl="0"/>
            <a:r>
              <a:rPr lang="en-US" dirty="0"/>
              <a:t>Add text</a:t>
            </a:r>
          </a:p>
        </p:txBody>
      </p:sp>
      <p:sp>
        <p:nvSpPr>
          <p:cNvPr id="3" name="Bildplatzhalter 15">
            <a:extLst>
              <a:ext uri="{FF2B5EF4-FFF2-40B4-BE49-F238E27FC236}">
                <a16:creationId xmlns:a16="http://schemas.microsoft.com/office/drawing/2014/main" id="{277424FD-F9EC-9D50-76B7-A15217260B9D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6203952" y="0"/>
            <a:ext cx="5988047" cy="3428999"/>
          </a:xfrm>
        </p:spPr>
        <p:txBody>
          <a:bodyPr tIns="900000" anchor="ctr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00"/>
            </a:lvl1pPr>
          </a:lstStyle>
          <a:p>
            <a:r>
              <a:rPr lang="en-US" dirty="0"/>
              <a:t>Insert picture by clicking on the symbol. </a:t>
            </a:r>
            <a:br>
              <a:rPr lang="en-US" dirty="0"/>
            </a:br>
            <a:br>
              <a:rPr lang="en-US" dirty="0"/>
            </a:br>
            <a:r>
              <a:rPr lang="en-US" dirty="0"/>
              <a:t>Alternatively, copy the image to the clipboard,</a:t>
            </a:r>
            <a:br>
              <a:rPr lang="en-US" dirty="0"/>
            </a:br>
            <a:r>
              <a:rPr lang="en-US" dirty="0"/>
              <a:t> select the placeholder and paste the image.</a:t>
            </a:r>
          </a:p>
        </p:txBody>
      </p:sp>
      <p:sp>
        <p:nvSpPr>
          <p:cNvPr id="4" name="Bildplatzhalter 15">
            <a:extLst>
              <a:ext uri="{FF2B5EF4-FFF2-40B4-BE49-F238E27FC236}">
                <a16:creationId xmlns:a16="http://schemas.microsoft.com/office/drawing/2014/main" id="{E6670E1C-5A99-3F90-22DA-92683344E10A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 bwMode="gray">
          <a:xfrm>
            <a:off x="6203952" y="3429000"/>
            <a:ext cx="5988047" cy="3428999"/>
          </a:xfrm>
        </p:spPr>
        <p:txBody>
          <a:bodyPr tIns="900000" anchor="ctr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00"/>
            </a:lvl1pPr>
          </a:lstStyle>
          <a:p>
            <a:r>
              <a:rPr lang="en-US" dirty="0"/>
              <a:t>Insert picture by clicking on the symbol. </a:t>
            </a:r>
            <a:br>
              <a:rPr lang="en-US" dirty="0"/>
            </a:br>
            <a:br>
              <a:rPr lang="en-US" dirty="0"/>
            </a:br>
            <a:r>
              <a:rPr lang="en-US" dirty="0"/>
              <a:t>Alternatively, copy the image to the clipboard,</a:t>
            </a:r>
            <a:br>
              <a:rPr lang="en-US" dirty="0"/>
            </a:br>
            <a:r>
              <a:rPr lang="en-US" dirty="0"/>
              <a:t> select the placeholder and paste the image.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CE029FC3-CCFD-6807-4B07-283D6D2E4AC3}"/>
              </a:ext>
            </a:extLst>
          </p:cNvPr>
          <p:cNvSpPr/>
          <p:nvPr userDrawn="1"/>
        </p:nvSpPr>
        <p:spPr bwMode="gray">
          <a:xfrm>
            <a:off x="12233756" y="6026150"/>
            <a:ext cx="1963144" cy="828677"/>
          </a:xfrm>
          <a:prstGeom prst="rect">
            <a:avLst/>
          </a:prstGeom>
          <a:solidFill>
            <a:schemeClr val="bg1"/>
          </a:solidFill>
          <a:ln w="6350"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44000" tIns="144000" rIns="144000" bIns="144000" rtlCol="0" anchor="ctr"/>
          <a:lstStyle/>
          <a:p>
            <a:pPr algn="l"/>
            <a:r>
              <a:rPr lang="en-US" sz="1000" b="1" dirty="0">
                <a:solidFill>
                  <a:schemeClr val="tx1"/>
                </a:solidFill>
              </a:rPr>
              <a:t>Logo Color</a:t>
            </a:r>
          </a:p>
          <a:p>
            <a:pPr algn="l"/>
            <a:r>
              <a:rPr lang="en-US" sz="1000" dirty="0">
                <a:solidFill>
                  <a:schemeClr val="tx1"/>
                </a:solidFill>
              </a:rPr>
              <a:t>For light images,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the logo color can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be changed to black.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C4BE23FB-82F9-256A-844F-E66CF0B11694}"/>
              </a:ext>
            </a:extLst>
          </p:cNvPr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fld id="{67691B29-C999-42D8-9662-5008B7E8BD3B}" type="datetime3">
              <a:rPr lang="de-DE" noProof="1" smtClean="0"/>
              <a:t>01/07/2025</a:t>
            </a:fld>
            <a:endParaRPr lang="en-US" noProof="1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FFB82624-8EFE-AB1E-C365-BC8C7FE4BEC2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>
          <a:xfrm>
            <a:off x="2100264" y="6273800"/>
            <a:ext cx="3887786" cy="584200"/>
          </a:xfrm>
        </p:spPr>
        <p:txBody>
          <a:bodyPr/>
          <a:lstStyle/>
          <a:p>
            <a:r>
              <a:rPr lang="en-US" noProof="1"/>
              <a:t>Name - Title of Presentation</a:t>
            </a:r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B15CD544-922E-96F9-8EAB-ABE0DF7E74C1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776FC98F-84AD-404B-BCCB-49E092AA6DE0}" type="slidenum">
              <a:rPr lang="en-US" noProof="1" smtClean="0"/>
              <a:pPr/>
              <a:t>‹#›</a:t>
            </a:fld>
            <a:endParaRPr lang="en-US" noProof="1"/>
          </a:p>
        </p:txBody>
      </p:sp>
      <p:sp>
        <p:nvSpPr>
          <p:cNvPr id="10" name="SmartArt Placeholder 9">
            <a:extLst>
              <a:ext uri="{FF2B5EF4-FFF2-40B4-BE49-F238E27FC236}">
                <a16:creationId xmlns:a16="http://schemas.microsoft.com/office/drawing/2014/main" id="{C80D2BB3-E138-B7DD-31BD-76E8F71E4E39}"/>
              </a:ext>
            </a:extLst>
          </p:cNvPr>
          <p:cNvSpPr>
            <a:spLocks noGrp="1" noChangeAspect="1"/>
          </p:cNvSpPr>
          <p:nvPr>
            <p:ph type="dgm" sz="quarter" idx="21" hasCustomPrompt="1"/>
          </p:nvPr>
        </p:nvSpPr>
        <p:spPr bwMode="gray">
          <a:xfrm>
            <a:off x="11140463" y="6437457"/>
            <a:ext cx="689586" cy="247362"/>
          </a:xfrm>
          <a:custGeom>
            <a:avLst/>
            <a:gdLst>
              <a:gd name="connsiteX0" fmla="*/ 526439 w 689586"/>
              <a:gd name="connsiteY0" fmla="*/ 247 h 247362"/>
              <a:gd name="connsiteX1" fmla="*/ 689586 w 689586"/>
              <a:gd name="connsiteY1" fmla="*/ 247 h 247362"/>
              <a:gd name="connsiteX2" fmla="*/ 689586 w 689586"/>
              <a:gd name="connsiteY2" fmla="*/ 55816 h 247362"/>
              <a:gd name="connsiteX3" fmla="*/ 641876 w 689586"/>
              <a:gd name="connsiteY3" fmla="*/ 55816 h 247362"/>
              <a:gd name="connsiteX4" fmla="*/ 641876 w 689586"/>
              <a:gd name="connsiteY4" fmla="*/ 247362 h 247362"/>
              <a:gd name="connsiteX5" fmla="*/ 574149 w 689586"/>
              <a:gd name="connsiteY5" fmla="*/ 247362 h 247362"/>
              <a:gd name="connsiteX6" fmla="*/ 574149 w 689586"/>
              <a:gd name="connsiteY6" fmla="*/ 55816 h 247362"/>
              <a:gd name="connsiteX7" fmla="*/ 526439 w 689586"/>
              <a:gd name="connsiteY7" fmla="*/ 55816 h 247362"/>
              <a:gd name="connsiteX8" fmla="*/ 442470 w 689586"/>
              <a:gd name="connsiteY8" fmla="*/ 247 h 247362"/>
              <a:gd name="connsiteX9" fmla="*/ 510194 w 689586"/>
              <a:gd name="connsiteY9" fmla="*/ 247 h 247362"/>
              <a:gd name="connsiteX10" fmla="*/ 510194 w 689586"/>
              <a:gd name="connsiteY10" fmla="*/ 247116 h 247362"/>
              <a:gd name="connsiteX11" fmla="*/ 442470 w 689586"/>
              <a:gd name="connsiteY11" fmla="*/ 247116 h 247362"/>
              <a:gd name="connsiteX12" fmla="*/ 248102 w 689586"/>
              <a:gd name="connsiteY12" fmla="*/ 247 h 247362"/>
              <a:gd name="connsiteX13" fmla="*/ 250146 w 689586"/>
              <a:gd name="connsiteY13" fmla="*/ 247 h 247362"/>
              <a:gd name="connsiteX14" fmla="*/ 249899 w 689586"/>
              <a:gd name="connsiteY14" fmla="*/ 247077 h 247362"/>
              <a:gd name="connsiteX15" fmla="*/ 249900 w 689586"/>
              <a:gd name="connsiteY15" fmla="*/ 247078 h 247362"/>
              <a:gd name="connsiteX16" fmla="*/ 249900 w 689586"/>
              <a:gd name="connsiteY16" fmla="*/ 247113 h 247362"/>
              <a:gd name="connsiteX17" fmla="*/ 249899 w 689586"/>
              <a:gd name="connsiteY17" fmla="*/ 247111 h 247362"/>
              <a:gd name="connsiteX18" fmla="*/ 249899 w 689586"/>
              <a:gd name="connsiteY18" fmla="*/ 247113 h 247362"/>
              <a:gd name="connsiteX19" fmla="*/ 249899 w 689586"/>
              <a:gd name="connsiteY19" fmla="*/ 247114 h 247362"/>
              <a:gd name="connsiteX20" fmla="*/ 249899 w 689586"/>
              <a:gd name="connsiteY20" fmla="*/ 247116 h 247362"/>
              <a:gd name="connsiteX21" fmla="*/ 249864 w 689586"/>
              <a:gd name="connsiteY21" fmla="*/ 247116 h 247362"/>
              <a:gd name="connsiteX22" fmla="*/ 249864 w 689586"/>
              <a:gd name="connsiteY22" fmla="*/ 247114 h 247362"/>
              <a:gd name="connsiteX23" fmla="*/ 0 w 689586"/>
              <a:gd name="connsiteY23" fmla="*/ 247114 h 247362"/>
              <a:gd name="connsiteX24" fmla="*/ 7858 w 689586"/>
              <a:gd name="connsiteY24" fmla="*/ 186719 h 247362"/>
              <a:gd name="connsiteX25" fmla="*/ 249861 w 689586"/>
              <a:gd name="connsiteY25" fmla="*/ 247105 h 247362"/>
              <a:gd name="connsiteX26" fmla="*/ 249859 w 689586"/>
              <a:gd name="connsiteY26" fmla="*/ 247095 h 247362"/>
              <a:gd name="connsiteX27" fmla="*/ 24103 w 689586"/>
              <a:gd name="connsiteY27" fmla="*/ 142073 h 247362"/>
              <a:gd name="connsiteX28" fmla="*/ 56837 w 689586"/>
              <a:gd name="connsiteY28" fmla="*/ 90557 h 247362"/>
              <a:gd name="connsiteX29" fmla="*/ 249854 w 689586"/>
              <a:gd name="connsiteY29" fmla="*/ 247076 h 247362"/>
              <a:gd name="connsiteX30" fmla="*/ 249834 w 689586"/>
              <a:gd name="connsiteY30" fmla="*/ 246997 h 247362"/>
              <a:gd name="connsiteX31" fmla="*/ 92849 w 689586"/>
              <a:gd name="connsiteY31" fmla="*/ 55039 h 247362"/>
              <a:gd name="connsiteX32" fmla="*/ 144612 w 689586"/>
              <a:gd name="connsiteY32" fmla="*/ 23078 h 247362"/>
              <a:gd name="connsiteX33" fmla="*/ 249821 w 689586"/>
              <a:gd name="connsiteY33" fmla="*/ 246945 h 247362"/>
              <a:gd name="connsiteX34" fmla="*/ 189750 w 689586"/>
              <a:gd name="connsiteY34" fmla="*/ 7364 h 247362"/>
              <a:gd name="connsiteX35" fmla="*/ 248102 w 689586"/>
              <a:gd name="connsiteY35" fmla="*/ 247 h 247362"/>
              <a:gd name="connsiteX36" fmla="*/ 352898 w 689586"/>
              <a:gd name="connsiteY36" fmla="*/ 0 h 247362"/>
              <a:gd name="connsiteX37" fmla="*/ 430524 w 689586"/>
              <a:gd name="connsiteY37" fmla="*/ 0 h 247362"/>
              <a:gd name="connsiteX38" fmla="*/ 330557 w 689586"/>
              <a:gd name="connsiteY38" fmla="*/ 124315 h 247362"/>
              <a:gd name="connsiteX39" fmla="*/ 431017 w 689586"/>
              <a:gd name="connsiteY39" fmla="*/ 247116 h 247362"/>
              <a:gd name="connsiteX40" fmla="*/ 355716 w 689586"/>
              <a:gd name="connsiteY40" fmla="*/ 247116 h 247362"/>
              <a:gd name="connsiteX41" fmla="*/ 266144 w 689586"/>
              <a:gd name="connsiteY41" fmla="*/ 150954 h 247362"/>
              <a:gd name="connsiteX42" fmla="*/ 266144 w 689586"/>
              <a:gd name="connsiteY42" fmla="*/ 95916 h 2473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</a:cxnLst>
            <a:rect l="l" t="t" r="r" b="b"/>
            <a:pathLst>
              <a:path w="689586" h="247362">
                <a:moveTo>
                  <a:pt x="526439" y="247"/>
                </a:moveTo>
                <a:lnTo>
                  <a:pt x="689586" y="247"/>
                </a:lnTo>
                <a:lnTo>
                  <a:pt x="689586" y="55816"/>
                </a:lnTo>
                <a:lnTo>
                  <a:pt x="641876" y="55816"/>
                </a:lnTo>
                <a:lnTo>
                  <a:pt x="641876" y="247362"/>
                </a:lnTo>
                <a:lnTo>
                  <a:pt x="574149" y="247362"/>
                </a:lnTo>
                <a:lnTo>
                  <a:pt x="574149" y="55816"/>
                </a:lnTo>
                <a:lnTo>
                  <a:pt x="526439" y="55816"/>
                </a:lnTo>
                <a:close/>
                <a:moveTo>
                  <a:pt x="442470" y="247"/>
                </a:moveTo>
                <a:lnTo>
                  <a:pt x="510194" y="247"/>
                </a:lnTo>
                <a:lnTo>
                  <a:pt x="510194" y="247116"/>
                </a:lnTo>
                <a:lnTo>
                  <a:pt x="442470" y="247116"/>
                </a:lnTo>
                <a:close/>
                <a:moveTo>
                  <a:pt x="248102" y="247"/>
                </a:moveTo>
                <a:lnTo>
                  <a:pt x="250146" y="247"/>
                </a:lnTo>
                <a:lnTo>
                  <a:pt x="249899" y="247077"/>
                </a:lnTo>
                <a:lnTo>
                  <a:pt x="249900" y="247078"/>
                </a:lnTo>
                <a:lnTo>
                  <a:pt x="249900" y="247113"/>
                </a:lnTo>
                <a:lnTo>
                  <a:pt x="249899" y="247111"/>
                </a:lnTo>
                <a:lnTo>
                  <a:pt x="249899" y="247113"/>
                </a:lnTo>
                <a:lnTo>
                  <a:pt x="249899" y="247114"/>
                </a:lnTo>
                <a:lnTo>
                  <a:pt x="249899" y="247116"/>
                </a:lnTo>
                <a:lnTo>
                  <a:pt x="249864" y="247116"/>
                </a:lnTo>
                <a:lnTo>
                  <a:pt x="249864" y="247114"/>
                </a:lnTo>
                <a:lnTo>
                  <a:pt x="0" y="247114"/>
                </a:lnTo>
                <a:cubicBezTo>
                  <a:pt x="246" y="226289"/>
                  <a:pt x="2784" y="205994"/>
                  <a:pt x="7858" y="186719"/>
                </a:cubicBezTo>
                <a:lnTo>
                  <a:pt x="249861" y="247105"/>
                </a:lnTo>
                <a:lnTo>
                  <a:pt x="249859" y="247095"/>
                </a:lnTo>
                <a:lnTo>
                  <a:pt x="24103" y="142073"/>
                </a:lnTo>
                <a:cubicBezTo>
                  <a:pt x="32736" y="123539"/>
                  <a:pt x="43906" y="106273"/>
                  <a:pt x="56837" y="90557"/>
                </a:cubicBezTo>
                <a:lnTo>
                  <a:pt x="249854" y="247076"/>
                </a:lnTo>
                <a:lnTo>
                  <a:pt x="249834" y="246997"/>
                </a:lnTo>
                <a:lnTo>
                  <a:pt x="92849" y="55039"/>
                </a:lnTo>
                <a:cubicBezTo>
                  <a:pt x="108600" y="42353"/>
                  <a:pt x="125831" y="31712"/>
                  <a:pt x="144612" y="23078"/>
                </a:cubicBezTo>
                <a:lnTo>
                  <a:pt x="249821" y="246945"/>
                </a:lnTo>
                <a:lnTo>
                  <a:pt x="189750" y="7364"/>
                </a:lnTo>
                <a:cubicBezTo>
                  <a:pt x="208531" y="2784"/>
                  <a:pt x="228052" y="247"/>
                  <a:pt x="248102" y="247"/>
                </a:cubicBezTo>
                <a:close/>
                <a:moveTo>
                  <a:pt x="352898" y="0"/>
                </a:moveTo>
                <a:lnTo>
                  <a:pt x="430524" y="0"/>
                </a:lnTo>
                <a:lnTo>
                  <a:pt x="330557" y="124315"/>
                </a:lnTo>
                <a:lnTo>
                  <a:pt x="431017" y="247116"/>
                </a:lnTo>
                <a:lnTo>
                  <a:pt x="355716" y="247116"/>
                </a:lnTo>
                <a:lnTo>
                  <a:pt x="266144" y="150954"/>
                </a:lnTo>
                <a:lnTo>
                  <a:pt x="266144" y="95916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r>
              <a:rPr lang="en-US" noProof="1"/>
              <a:t> dsafasdfadsfdsfasdfsadfasdfadsf sdaf asdfasdf</a:t>
            </a:r>
          </a:p>
        </p:txBody>
      </p:sp>
    </p:spTree>
    <p:extLst>
      <p:ext uri="{BB962C8B-B14F-4D97-AF65-F5344CB8AC3E}">
        <p14:creationId xmlns:p14="http://schemas.microsoft.com/office/powerpoint/2010/main" val="2522758344"/>
      </p:ext>
    </p:extLst>
  </p:cSld>
  <p:clrMapOvr>
    <a:masterClrMapping/>
  </p:clrMapOvr>
  <p:transition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 and Picture (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05B1CE1-6CC9-F59B-4D70-B6BAA153740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71475" y="368299"/>
            <a:ext cx="3671889" cy="1008063"/>
          </a:xfrm>
        </p:spPr>
        <p:txBody>
          <a:bodyPr/>
          <a:lstStyle/>
          <a:p>
            <a:r>
              <a:rPr lang="en-US" dirty="0"/>
              <a:t>Add Title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7B8292EB-A174-4AF5-E760-21B84099238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371474" y="1592263"/>
            <a:ext cx="3671889" cy="4684711"/>
          </a:xfrm>
        </p:spPr>
        <p:txBody>
          <a:bodyPr/>
          <a:lstStyle/>
          <a:p>
            <a:pPr lvl="0"/>
            <a:r>
              <a:rPr lang="en-US" dirty="0"/>
              <a:t>Add text</a:t>
            </a:r>
          </a:p>
        </p:txBody>
      </p:sp>
      <p:sp>
        <p:nvSpPr>
          <p:cNvPr id="7" name="Bildplatzhalter 15">
            <a:extLst>
              <a:ext uri="{FF2B5EF4-FFF2-40B4-BE49-F238E27FC236}">
                <a16:creationId xmlns:a16="http://schemas.microsoft.com/office/drawing/2014/main" id="{3D7FEBCC-B6B1-D6F4-B8C4-39CAEC3BF559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4259264" y="1"/>
            <a:ext cx="7932736" cy="6857999"/>
          </a:xfrm>
        </p:spPr>
        <p:txBody>
          <a:bodyPr tIns="900000" anchor="ctr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00"/>
            </a:lvl1pPr>
          </a:lstStyle>
          <a:p>
            <a:r>
              <a:rPr lang="en-US" dirty="0"/>
              <a:t>Insert picture by clicking on the symbol. </a:t>
            </a:r>
            <a:br>
              <a:rPr lang="en-US" dirty="0"/>
            </a:br>
            <a:br>
              <a:rPr lang="en-US" dirty="0"/>
            </a:br>
            <a:r>
              <a:rPr lang="en-US" dirty="0"/>
              <a:t>Alternatively, copy the image to the clipboard,</a:t>
            </a:r>
            <a:br>
              <a:rPr lang="en-US" dirty="0"/>
            </a:br>
            <a:r>
              <a:rPr lang="en-US" dirty="0"/>
              <a:t> select the placeholder and paste the image.</a:t>
            </a:r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ACC92567-845B-5A16-AD42-AF8D88C03086}"/>
              </a:ext>
            </a:extLst>
          </p:cNvPr>
          <p:cNvSpPr/>
          <p:nvPr userDrawn="1"/>
        </p:nvSpPr>
        <p:spPr bwMode="gray">
          <a:xfrm>
            <a:off x="12233756" y="6026150"/>
            <a:ext cx="1963144" cy="828677"/>
          </a:xfrm>
          <a:prstGeom prst="rect">
            <a:avLst/>
          </a:prstGeom>
          <a:solidFill>
            <a:schemeClr val="bg1"/>
          </a:solidFill>
          <a:ln w="6350"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44000" tIns="144000" rIns="144000" bIns="144000" rtlCol="0" anchor="ctr"/>
          <a:lstStyle/>
          <a:p>
            <a:pPr algn="l"/>
            <a:r>
              <a:rPr lang="en-US" sz="1000" b="1" dirty="0">
                <a:solidFill>
                  <a:schemeClr val="tx1"/>
                </a:solidFill>
              </a:rPr>
              <a:t>Logo Color</a:t>
            </a:r>
          </a:p>
          <a:p>
            <a:pPr algn="l"/>
            <a:r>
              <a:rPr lang="en-US" sz="1000" dirty="0">
                <a:solidFill>
                  <a:schemeClr val="tx1"/>
                </a:solidFill>
              </a:rPr>
              <a:t>For light images,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the logo color can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be changed to black.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341EFE2-E8B5-56D7-6032-6F049A14EA64}"/>
              </a:ext>
            </a:extLst>
          </p:cNvPr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fld id="{EDCA3AD0-C09D-49CD-AC8F-F479C62BBA75}" type="datetime3">
              <a:rPr lang="de-DE" noProof="1" smtClean="0"/>
              <a:t>01/07/2025</a:t>
            </a:fld>
            <a:endParaRPr lang="en-US" noProof="1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8B05A39-8EF3-2CC5-3106-31B6DF3A23FD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>
          <a:xfrm>
            <a:off x="2100264" y="6273800"/>
            <a:ext cx="1943100" cy="584200"/>
          </a:xfrm>
        </p:spPr>
        <p:txBody>
          <a:bodyPr/>
          <a:lstStyle/>
          <a:p>
            <a:r>
              <a:rPr lang="en-US" noProof="1"/>
              <a:t>Name - Title of Presentation</a:t>
            </a:r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99CFE138-5A56-42D1-CEDB-6704D5C323D7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776FC98F-84AD-404B-BCCB-49E092AA6DE0}" type="slidenum">
              <a:rPr lang="en-US" noProof="1" smtClean="0"/>
              <a:pPr/>
              <a:t>‹#›</a:t>
            </a:fld>
            <a:endParaRPr lang="en-US" noProof="1"/>
          </a:p>
        </p:txBody>
      </p:sp>
      <p:sp>
        <p:nvSpPr>
          <p:cNvPr id="9" name="SmartArt Placeholder 8">
            <a:extLst>
              <a:ext uri="{FF2B5EF4-FFF2-40B4-BE49-F238E27FC236}">
                <a16:creationId xmlns:a16="http://schemas.microsoft.com/office/drawing/2014/main" id="{F2824E2A-4652-0276-77D5-E2F7A17236EF}"/>
              </a:ext>
            </a:extLst>
          </p:cNvPr>
          <p:cNvSpPr>
            <a:spLocks noGrp="1" noChangeAspect="1"/>
          </p:cNvSpPr>
          <p:nvPr>
            <p:ph type="dgm" sz="quarter" idx="21" hasCustomPrompt="1"/>
          </p:nvPr>
        </p:nvSpPr>
        <p:spPr bwMode="gray">
          <a:xfrm>
            <a:off x="11140463" y="6437457"/>
            <a:ext cx="689586" cy="247362"/>
          </a:xfrm>
          <a:custGeom>
            <a:avLst/>
            <a:gdLst>
              <a:gd name="connsiteX0" fmla="*/ 526439 w 689586"/>
              <a:gd name="connsiteY0" fmla="*/ 247 h 247362"/>
              <a:gd name="connsiteX1" fmla="*/ 689586 w 689586"/>
              <a:gd name="connsiteY1" fmla="*/ 247 h 247362"/>
              <a:gd name="connsiteX2" fmla="*/ 689586 w 689586"/>
              <a:gd name="connsiteY2" fmla="*/ 55816 h 247362"/>
              <a:gd name="connsiteX3" fmla="*/ 641876 w 689586"/>
              <a:gd name="connsiteY3" fmla="*/ 55816 h 247362"/>
              <a:gd name="connsiteX4" fmla="*/ 641876 w 689586"/>
              <a:gd name="connsiteY4" fmla="*/ 247362 h 247362"/>
              <a:gd name="connsiteX5" fmla="*/ 574149 w 689586"/>
              <a:gd name="connsiteY5" fmla="*/ 247362 h 247362"/>
              <a:gd name="connsiteX6" fmla="*/ 574149 w 689586"/>
              <a:gd name="connsiteY6" fmla="*/ 55816 h 247362"/>
              <a:gd name="connsiteX7" fmla="*/ 526439 w 689586"/>
              <a:gd name="connsiteY7" fmla="*/ 55816 h 247362"/>
              <a:gd name="connsiteX8" fmla="*/ 442470 w 689586"/>
              <a:gd name="connsiteY8" fmla="*/ 247 h 247362"/>
              <a:gd name="connsiteX9" fmla="*/ 510194 w 689586"/>
              <a:gd name="connsiteY9" fmla="*/ 247 h 247362"/>
              <a:gd name="connsiteX10" fmla="*/ 510194 w 689586"/>
              <a:gd name="connsiteY10" fmla="*/ 247116 h 247362"/>
              <a:gd name="connsiteX11" fmla="*/ 442470 w 689586"/>
              <a:gd name="connsiteY11" fmla="*/ 247116 h 247362"/>
              <a:gd name="connsiteX12" fmla="*/ 248102 w 689586"/>
              <a:gd name="connsiteY12" fmla="*/ 247 h 247362"/>
              <a:gd name="connsiteX13" fmla="*/ 250146 w 689586"/>
              <a:gd name="connsiteY13" fmla="*/ 247 h 247362"/>
              <a:gd name="connsiteX14" fmla="*/ 249899 w 689586"/>
              <a:gd name="connsiteY14" fmla="*/ 247077 h 247362"/>
              <a:gd name="connsiteX15" fmla="*/ 249900 w 689586"/>
              <a:gd name="connsiteY15" fmla="*/ 247078 h 247362"/>
              <a:gd name="connsiteX16" fmla="*/ 249900 w 689586"/>
              <a:gd name="connsiteY16" fmla="*/ 247113 h 247362"/>
              <a:gd name="connsiteX17" fmla="*/ 249899 w 689586"/>
              <a:gd name="connsiteY17" fmla="*/ 247111 h 247362"/>
              <a:gd name="connsiteX18" fmla="*/ 249899 w 689586"/>
              <a:gd name="connsiteY18" fmla="*/ 247113 h 247362"/>
              <a:gd name="connsiteX19" fmla="*/ 249899 w 689586"/>
              <a:gd name="connsiteY19" fmla="*/ 247114 h 247362"/>
              <a:gd name="connsiteX20" fmla="*/ 249899 w 689586"/>
              <a:gd name="connsiteY20" fmla="*/ 247116 h 247362"/>
              <a:gd name="connsiteX21" fmla="*/ 249864 w 689586"/>
              <a:gd name="connsiteY21" fmla="*/ 247116 h 247362"/>
              <a:gd name="connsiteX22" fmla="*/ 249864 w 689586"/>
              <a:gd name="connsiteY22" fmla="*/ 247114 h 247362"/>
              <a:gd name="connsiteX23" fmla="*/ 0 w 689586"/>
              <a:gd name="connsiteY23" fmla="*/ 247114 h 247362"/>
              <a:gd name="connsiteX24" fmla="*/ 7858 w 689586"/>
              <a:gd name="connsiteY24" fmla="*/ 186719 h 247362"/>
              <a:gd name="connsiteX25" fmla="*/ 249861 w 689586"/>
              <a:gd name="connsiteY25" fmla="*/ 247105 h 247362"/>
              <a:gd name="connsiteX26" fmla="*/ 249859 w 689586"/>
              <a:gd name="connsiteY26" fmla="*/ 247095 h 247362"/>
              <a:gd name="connsiteX27" fmla="*/ 24103 w 689586"/>
              <a:gd name="connsiteY27" fmla="*/ 142073 h 247362"/>
              <a:gd name="connsiteX28" fmla="*/ 56837 w 689586"/>
              <a:gd name="connsiteY28" fmla="*/ 90557 h 247362"/>
              <a:gd name="connsiteX29" fmla="*/ 249854 w 689586"/>
              <a:gd name="connsiteY29" fmla="*/ 247076 h 247362"/>
              <a:gd name="connsiteX30" fmla="*/ 249834 w 689586"/>
              <a:gd name="connsiteY30" fmla="*/ 246997 h 247362"/>
              <a:gd name="connsiteX31" fmla="*/ 92849 w 689586"/>
              <a:gd name="connsiteY31" fmla="*/ 55039 h 247362"/>
              <a:gd name="connsiteX32" fmla="*/ 144612 w 689586"/>
              <a:gd name="connsiteY32" fmla="*/ 23078 h 247362"/>
              <a:gd name="connsiteX33" fmla="*/ 249821 w 689586"/>
              <a:gd name="connsiteY33" fmla="*/ 246945 h 247362"/>
              <a:gd name="connsiteX34" fmla="*/ 189750 w 689586"/>
              <a:gd name="connsiteY34" fmla="*/ 7364 h 247362"/>
              <a:gd name="connsiteX35" fmla="*/ 248102 w 689586"/>
              <a:gd name="connsiteY35" fmla="*/ 247 h 247362"/>
              <a:gd name="connsiteX36" fmla="*/ 352898 w 689586"/>
              <a:gd name="connsiteY36" fmla="*/ 0 h 247362"/>
              <a:gd name="connsiteX37" fmla="*/ 430524 w 689586"/>
              <a:gd name="connsiteY37" fmla="*/ 0 h 247362"/>
              <a:gd name="connsiteX38" fmla="*/ 330557 w 689586"/>
              <a:gd name="connsiteY38" fmla="*/ 124315 h 247362"/>
              <a:gd name="connsiteX39" fmla="*/ 431017 w 689586"/>
              <a:gd name="connsiteY39" fmla="*/ 247116 h 247362"/>
              <a:gd name="connsiteX40" fmla="*/ 355716 w 689586"/>
              <a:gd name="connsiteY40" fmla="*/ 247116 h 247362"/>
              <a:gd name="connsiteX41" fmla="*/ 266144 w 689586"/>
              <a:gd name="connsiteY41" fmla="*/ 150954 h 247362"/>
              <a:gd name="connsiteX42" fmla="*/ 266144 w 689586"/>
              <a:gd name="connsiteY42" fmla="*/ 95916 h 2473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</a:cxnLst>
            <a:rect l="l" t="t" r="r" b="b"/>
            <a:pathLst>
              <a:path w="689586" h="247362">
                <a:moveTo>
                  <a:pt x="526439" y="247"/>
                </a:moveTo>
                <a:lnTo>
                  <a:pt x="689586" y="247"/>
                </a:lnTo>
                <a:lnTo>
                  <a:pt x="689586" y="55816"/>
                </a:lnTo>
                <a:lnTo>
                  <a:pt x="641876" y="55816"/>
                </a:lnTo>
                <a:lnTo>
                  <a:pt x="641876" y="247362"/>
                </a:lnTo>
                <a:lnTo>
                  <a:pt x="574149" y="247362"/>
                </a:lnTo>
                <a:lnTo>
                  <a:pt x="574149" y="55816"/>
                </a:lnTo>
                <a:lnTo>
                  <a:pt x="526439" y="55816"/>
                </a:lnTo>
                <a:close/>
                <a:moveTo>
                  <a:pt x="442470" y="247"/>
                </a:moveTo>
                <a:lnTo>
                  <a:pt x="510194" y="247"/>
                </a:lnTo>
                <a:lnTo>
                  <a:pt x="510194" y="247116"/>
                </a:lnTo>
                <a:lnTo>
                  <a:pt x="442470" y="247116"/>
                </a:lnTo>
                <a:close/>
                <a:moveTo>
                  <a:pt x="248102" y="247"/>
                </a:moveTo>
                <a:lnTo>
                  <a:pt x="250146" y="247"/>
                </a:lnTo>
                <a:lnTo>
                  <a:pt x="249899" y="247077"/>
                </a:lnTo>
                <a:lnTo>
                  <a:pt x="249900" y="247078"/>
                </a:lnTo>
                <a:lnTo>
                  <a:pt x="249900" y="247113"/>
                </a:lnTo>
                <a:lnTo>
                  <a:pt x="249899" y="247111"/>
                </a:lnTo>
                <a:lnTo>
                  <a:pt x="249899" y="247113"/>
                </a:lnTo>
                <a:lnTo>
                  <a:pt x="249899" y="247114"/>
                </a:lnTo>
                <a:lnTo>
                  <a:pt x="249899" y="247116"/>
                </a:lnTo>
                <a:lnTo>
                  <a:pt x="249864" y="247116"/>
                </a:lnTo>
                <a:lnTo>
                  <a:pt x="249864" y="247114"/>
                </a:lnTo>
                <a:lnTo>
                  <a:pt x="0" y="247114"/>
                </a:lnTo>
                <a:cubicBezTo>
                  <a:pt x="246" y="226289"/>
                  <a:pt x="2784" y="205994"/>
                  <a:pt x="7858" y="186719"/>
                </a:cubicBezTo>
                <a:lnTo>
                  <a:pt x="249861" y="247105"/>
                </a:lnTo>
                <a:lnTo>
                  <a:pt x="249859" y="247095"/>
                </a:lnTo>
                <a:lnTo>
                  <a:pt x="24103" y="142073"/>
                </a:lnTo>
                <a:cubicBezTo>
                  <a:pt x="32736" y="123539"/>
                  <a:pt x="43906" y="106273"/>
                  <a:pt x="56837" y="90557"/>
                </a:cubicBezTo>
                <a:lnTo>
                  <a:pt x="249854" y="247076"/>
                </a:lnTo>
                <a:lnTo>
                  <a:pt x="249834" y="246997"/>
                </a:lnTo>
                <a:lnTo>
                  <a:pt x="92849" y="55039"/>
                </a:lnTo>
                <a:cubicBezTo>
                  <a:pt x="108600" y="42353"/>
                  <a:pt x="125831" y="31712"/>
                  <a:pt x="144612" y="23078"/>
                </a:cubicBezTo>
                <a:lnTo>
                  <a:pt x="249821" y="246945"/>
                </a:lnTo>
                <a:lnTo>
                  <a:pt x="189750" y="7364"/>
                </a:lnTo>
                <a:cubicBezTo>
                  <a:pt x="208531" y="2784"/>
                  <a:pt x="228052" y="247"/>
                  <a:pt x="248102" y="247"/>
                </a:cubicBezTo>
                <a:close/>
                <a:moveTo>
                  <a:pt x="352898" y="0"/>
                </a:moveTo>
                <a:lnTo>
                  <a:pt x="430524" y="0"/>
                </a:lnTo>
                <a:lnTo>
                  <a:pt x="330557" y="124315"/>
                </a:lnTo>
                <a:lnTo>
                  <a:pt x="431017" y="247116"/>
                </a:lnTo>
                <a:lnTo>
                  <a:pt x="355716" y="247116"/>
                </a:lnTo>
                <a:lnTo>
                  <a:pt x="266144" y="150954"/>
                </a:lnTo>
                <a:lnTo>
                  <a:pt x="266144" y="95916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r>
              <a:rPr lang="en-US" noProof="1"/>
              <a:t> dsafasdfadsfdsfasdfsadfasdfadsf sdaf asdfasdf</a:t>
            </a:r>
          </a:p>
        </p:txBody>
      </p:sp>
    </p:spTree>
    <p:extLst>
      <p:ext uri="{BB962C8B-B14F-4D97-AF65-F5344CB8AC3E}">
        <p14:creationId xmlns:p14="http://schemas.microsoft.com/office/powerpoint/2010/main" val="886544958"/>
      </p:ext>
    </p:extLst>
  </p:cSld>
  <p:clrMapOvr>
    <a:masterClrMapping/>
  </p:clrMapOvr>
  <p:transition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 and 2x Picture (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15">
            <a:extLst>
              <a:ext uri="{FF2B5EF4-FFF2-40B4-BE49-F238E27FC236}">
                <a16:creationId xmlns:a16="http://schemas.microsoft.com/office/drawing/2014/main" id="{21C31316-62F6-D18F-1737-CCC5C0FA2DBA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4259263" y="0"/>
            <a:ext cx="7932737" cy="3428999"/>
          </a:xfrm>
        </p:spPr>
        <p:txBody>
          <a:bodyPr tIns="900000" anchor="ctr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00"/>
            </a:lvl1pPr>
          </a:lstStyle>
          <a:p>
            <a:r>
              <a:rPr lang="en-US" dirty="0"/>
              <a:t>Insert picture by clicking on the symbol. </a:t>
            </a:r>
            <a:br>
              <a:rPr lang="en-US" dirty="0"/>
            </a:br>
            <a:br>
              <a:rPr lang="en-US" dirty="0"/>
            </a:br>
            <a:r>
              <a:rPr lang="en-US" dirty="0"/>
              <a:t>Alternatively, copy the image to the clipboard,</a:t>
            </a:r>
            <a:br>
              <a:rPr lang="en-US" dirty="0"/>
            </a:br>
            <a:r>
              <a:rPr lang="en-US" dirty="0"/>
              <a:t> select the placeholder and paste the image.</a:t>
            </a:r>
          </a:p>
        </p:txBody>
      </p:sp>
      <p:sp>
        <p:nvSpPr>
          <p:cNvPr id="4" name="Bildplatzhalter 15">
            <a:extLst>
              <a:ext uri="{FF2B5EF4-FFF2-40B4-BE49-F238E27FC236}">
                <a16:creationId xmlns:a16="http://schemas.microsoft.com/office/drawing/2014/main" id="{9ECB9B22-62D9-8BEF-B4AF-E3D501B30BF1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 bwMode="gray">
          <a:xfrm>
            <a:off x="4259263" y="3429000"/>
            <a:ext cx="7932737" cy="3428999"/>
          </a:xfrm>
        </p:spPr>
        <p:txBody>
          <a:bodyPr tIns="900000" anchor="ctr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00"/>
            </a:lvl1pPr>
          </a:lstStyle>
          <a:p>
            <a:r>
              <a:rPr lang="en-US" dirty="0"/>
              <a:t>Insert picture by clicking on the symbol. </a:t>
            </a:r>
            <a:br>
              <a:rPr lang="en-US" dirty="0"/>
            </a:br>
            <a:br>
              <a:rPr lang="en-US" dirty="0"/>
            </a:br>
            <a:r>
              <a:rPr lang="en-US" dirty="0"/>
              <a:t>Alternatively, copy the image to the clipboard,</a:t>
            </a:r>
            <a:br>
              <a:rPr lang="en-US" dirty="0"/>
            </a:br>
            <a:r>
              <a:rPr lang="en-US" dirty="0"/>
              <a:t> select the placeholder and paste the image.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705B1CE1-6CC9-F59B-4D70-B6BAA153740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71475" y="368299"/>
            <a:ext cx="3671889" cy="1008063"/>
          </a:xfrm>
        </p:spPr>
        <p:txBody>
          <a:bodyPr/>
          <a:lstStyle/>
          <a:p>
            <a:r>
              <a:rPr lang="en-US" dirty="0"/>
              <a:t>Add Title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7B8292EB-A174-4AF5-E760-21B84099238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371474" y="1592263"/>
            <a:ext cx="3671889" cy="4684711"/>
          </a:xfrm>
        </p:spPr>
        <p:txBody>
          <a:bodyPr/>
          <a:lstStyle/>
          <a:p>
            <a:pPr lvl="0"/>
            <a:r>
              <a:rPr lang="en-US" dirty="0"/>
              <a:t>Add text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27364D22-E1CE-D3E5-45DB-66B9F8D3C95C}"/>
              </a:ext>
            </a:extLst>
          </p:cNvPr>
          <p:cNvSpPr/>
          <p:nvPr userDrawn="1"/>
        </p:nvSpPr>
        <p:spPr bwMode="gray">
          <a:xfrm>
            <a:off x="12233756" y="6026150"/>
            <a:ext cx="1963144" cy="828677"/>
          </a:xfrm>
          <a:prstGeom prst="rect">
            <a:avLst/>
          </a:prstGeom>
          <a:solidFill>
            <a:schemeClr val="bg1"/>
          </a:solidFill>
          <a:ln w="6350"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44000" tIns="144000" rIns="144000" bIns="144000" rtlCol="0" anchor="ctr"/>
          <a:lstStyle/>
          <a:p>
            <a:pPr algn="l"/>
            <a:r>
              <a:rPr lang="en-US" sz="1000" b="1" dirty="0">
                <a:solidFill>
                  <a:schemeClr val="tx1"/>
                </a:solidFill>
              </a:rPr>
              <a:t>Logo Color</a:t>
            </a:r>
          </a:p>
          <a:p>
            <a:pPr algn="l"/>
            <a:r>
              <a:rPr lang="en-US" sz="1000" dirty="0">
                <a:solidFill>
                  <a:schemeClr val="tx1"/>
                </a:solidFill>
              </a:rPr>
              <a:t>For light images,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the logo color can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be changed to black.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E125E92D-EEDF-41E0-AFB0-5B7CA56902F1}"/>
              </a:ext>
            </a:extLst>
          </p:cNvPr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fld id="{936F822C-2EC5-4F2F-AB2D-643B1DDD7EF1}" type="datetime3">
              <a:rPr lang="de-DE" noProof="1" smtClean="0"/>
              <a:t>01/07/2025</a:t>
            </a:fld>
            <a:endParaRPr lang="en-US" noProof="1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53181661-B42D-C815-F777-F226E4013AB8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>
          <a:xfrm>
            <a:off x="2100264" y="6273800"/>
            <a:ext cx="1943100" cy="584200"/>
          </a:xfrm>
        </p:spPr>
        <p:txBody>
          <a:bodyPr/>
          <a:lstStyle/>
          <a:p>
            <a:r>
              <a:rPr lang="en-US" noProof="1"/>
              <a:t>Name - Title of Presentation</a:t>
            </a:r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17A4FC51-B5D1-EA2C-4520-8FBD7D0AD4F4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776FC98F-84AD-404B-BCCB-49E092AA6DE0}" type="slidenum">
              <a:rPr lang="en-US" noProof="1" smtClean="0"/>
              <a:pPr/>
              <a:t>‹#›</a:t>
            </a:fld>
            <a:endParaRPr lang="en-US" noProof="1"/>
          </a:p>
        </p:txBody>
      </p:sp>
      <p:sp>
        <p:nvSpPr>
          <p:cNvPr id="10" name="SmartArt Placeholder 9">
            <a:extLst>
              <a:ext uri="{FF2B5EF4-FFF2-40B4-BE49-F238E27FC236}">
                <a16:creationId xmlns:a16="http://schemas.microsoft.com/office/drawing/2014/main" id="{25AC6484-86DB-2DAB-BB62-A5745F449A7D}"/>
              </a:ext>
            </a:extLst>
          </p:cNvPr>
          <p:cNvSpPr>
            <a:spLocks noGrp="1" noChangeAspect="1"/>
          </p:cNvSpPr>
          <p:nvPr>
            <p:ph type="dgm" sz="quarter" idx="21" hasCustomPrompt="1"/>
          </p:nvPr>
        </p:nvSpPr>
        <p:spPr bwMode="gray">
          <a:xfrm>
            <a:off x="11140463" y="6437457"/>
            <a:ext cx="689586" cy="247362"/>
          </a:xfrm>
          <a:custGeom>
            <a:avLst/>
            <a:gdLst>
              <a:gd name="connsiteX0" fmla="*/ 526439 w 689586"/>
              <a:gd name="connsiteY0" fmla="*/ 247 h 247362"/>
              <a:gd name="connsiteX1" fmla="*/ 689586 w 689586"/>
              <a:gd name="connsiteY1" fmla="*/ 247 h 247362"/>
              <a:gd name="connsiteX2" fmla="*/ 689586 w 689586"/>
              <a:gd name="connsiteY2" fmla="*/ 55816 h 247362"/>
              <a:gd name="connsiteX3" fmla="*/ 641876 w 689586"/>
              <a:gd name="connsiteY3" fmla="*/ 55816 h 247362"/>
              <a:gd name="connsiteX4" fmla="*/ 641876 w 689586"/>
              <a:gd name="connsiteY4" fmla="*/ 247362 h 247362"/>
              <a:gd name="connsiteX5" fmla="*/ 574149 w 689586"/>
              <a:gd name="connsiteY5" fmla="*/ 247362 h 247362"/>
              <a:gd name="connsiteX6" fmla="*/ 574149 w 689586"/>
              <a:gd name="connsiteY6" fmla="*/ 55816 h 247362"/>
              <a:gd name="connsiteX7" fmla="*/ 526439 w 689586"/>
              <a:gd name="connsiteY7" fmla="*/ 55816 h 247362"/>
              <a:gd name="connsiteX8" fmla="*/ 442470 w 689586"/>
              <a:gd name="connsiteY8" fmla="*/ 247 h 247362"/>
              <a:gd name="connsiteX9" fmla="*/ 510194 w 689586"/>
              <a:gd name="connsiteY9" fmla="*/ 247 h 247362"/>
              <a:gd name="connsiteX10" fmla="*/ 510194 w 689586"/>
              <a:gd name="connsiteY10" fmla="*/ 247116 h 247362"/>
              <a:gd name="connsiteX11" fmla="*/ 442470 w 689586"/>
              <a:gd name="connsiteY11" fmla="*/ 247116 h 247362"/>
              <a:gd name="connsiteX12" fmla="*/ 248102 w 689586"/>
              <a:gd name="connsiteY12" fmla="*/ 247 h 247362"/>
              <a:gd name="connsiteX13" fmla="*/ 250146 w 689586"/>
              <a:gd name="connsiteY13" fmla="*/ 247 h 247362"/>
              <a:gd name="connsiteX14" fmla="*/ 249899 w 689586"/>
              <a:gd name="connsiteY14" fmla="*/ 247077 h 247362"/>
              <a:gd name="connsiteX15" fmla="*/ 249900 w 689586"/>
              <a:gd name="connsiteY15" fmla="*/ 247078 h 247362"/>
              <a:gd name="connsiteX16" fmla="*/ 249900 w 689586"/>
              <a:gd name="connsiteY16" fmla="*/ 247113 h 247362"/>
              <a:gd name="connsiteX17" fmla="*/ 249899 w 689586"/>
              <a:gd name="connsiteY17" fmla="*/ 247111 h 247362"/>
              <a:gd name="connsiteX18" fmla="*/ 249899 w 689586"/>
              <a:gd name="connsiteY18" fmla="*/ 247113 h 247362"/>
              <a:gd name="connsiteX19" fmla="*/ 249899 w 689586"/>
              <a:gd name="connsiteY19" fmla="*/ 247114 h 247362"/>
              <a:gd name="connsiteX20" fmla="*/ 249899 w 689586"/>
              <a:gd name="connsiteY20" fmla="*/ 247116 h 247362"/>
              <a:gd name="connsiteX21" fmla="*/ 249864 w 689586"/>
              <a:gd name="connsiteY21" fmla="*/ 247116 h 247362"/>
              <a:gd name="connsiteX22" fmla="*/ 249864 w 689586"/>
              <a:gd name="connsiteY22" fmla="*/ 247114 h 247362"/>
              <a:gd name="connsiteX23" fmla="*/ 0 w 689586"/>
              <a:gd name="connsiteY23" fmla="*/ 247114 h 247362"/>
              <a:gd name="connsiteX24" fmla="*/ 7858 w 689586"/>
              <a:gd name="connsiteY24" fmla="*/ 186719 h 247362"/>
              <a:gd name="connsiteX25" fmla="*/ 249861 w 689586"/>
              <a:gd name="connsiteY25" fmla="*/ 247105 h 247362"/>
              <a:gd name="connsiteX26" fmla="*/ 249859 w 689586"/>
              <a:gd name="connsiteY26" fmla="*/ 247095 h 247362"/>
              <a:gd name="connsiteX27" fmla="*/ 24103 w 689586"/>
              <a:gd name="connsiteY27" fmla="*/ 142073 h 247362"/>
              <a:gd name="connsiteX28" fmla="*/ 56837 w 689586"/>
              <a:gd name="connsiteY28" fmla="*/ 90557 h 247362"/>
              <a:gd name="connsiteX29" fmla="*/ 249854 w 689586"/>
              <a:gd name="connsiteY29" fmla="*/ 247076 h 247362"/>
              <a:gd name="connsiteX30" fmla="*/ 249834 w 689586"/>
              <a:gd name="connsiteY30" fmla="*/ 246997 h 247362"/>
              <a:gd name="connsiteX31" fmla="*/ 92849 w 689586"/>
              <a:gd name="connsiteY31" fmla="*/ 55039 h 247362"/>
              <a:gd name="connsiteX32" fmla="*/ 144612 w 689586"/>
              <a:gd name="connsiteY32" fmla="*/ 23078 h 247362"/>
              <a:gd name="connsiteX33" fmla="*/ 249821 w 689586"/>
              <a:gd name="connsiteY33" fmla="*/ 246945 h 247362"/>
              <a:gd name="connsiteX34" fmla="*/ 189750 w 689586"/>
              <a:gd name="connsiteY34" fmla="*/ 7364 h 247362"/>
              <a:gd name="connsiteX35" fmla="*/ 248102 w 689586"/>
              <a:gd name="connsiteY35" fmla="*/ 247 h 247362"/>
              <a:gd name="connsiteX36" fmla="*/ 352898 w 689586"/>
              <a:gd name="connsiteY36" fmla="*/ 0 h 247362"/>
              <a:gd name="connsiteX37" fmla="*/ 430524 w 689586"/>
              <a:gd name="connsiteY37" fmla="*/ 0 h 247362"/>
              <a:gd name="connsiteX38" fmla="*/ 330557 w 689586"/>
              <a:gd name="connsiteY38" fmla="*/ 124315 h 247362"/>
              <a:gd name="connsiteX39" fmla="*/ 431017 w 689586"/>
              <a:gd name="connsiteY39" fmla="*/ 247116 h 247362"/>
              <a:gd name="connsiteX40" fmla="*/ 355716 w 689586"/>
              <a:gd name="connsiteY40" fmla="*/ 247116 h 247362"/>
              <a:gd name="connsiteX41" fmla="*/ 266144 w 689586"/>
              <a:gd name="connsiteY41" fmla="*/ 150954 h 247362"/>
              <a:gd name="connsiteX42" fmla="*/ 266144 w 689586"/>
              <a:gd name="connsiteY42" fmla="*/ 95916 h 2473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</a:cxnLst>
            <a:rect l="l" t="t" r="r" b="b"/>
            <a:pathLst>
              <a:path w="689586" h="247362">
                <a:moveTo>
                  <a:pt x="526439" y="247"/>
                </a:moveTo>
                <a:lnTo>
                  <a:pt x="689586" y="247"/>
                </a:lnTo>
                <a:lnTo>
                  <a:pt x="689586" y="55816"/>
                </a:lnTo>
                <a:lnTo>
                  <a:pt x="641876" y="55816"/>
                </a:lnTo>
                <a:lnTo>
                  <a:pt x="641876" y="247362"/>
                </a:lnTo>
                <a:lnTo>
                  <a:pt x="574149" y="247362"/>
                </a:lnTo>
                <a:lnTo>
                  <a:pt x="574149" y="55816"/>
                </a:lnTo>
                <a:lnTo>
                  <a:pt x="526439" y="55816"/>
                </a:lnTo>
                <a:close/>
                <a:moveTo>
                  <a:pt x="442470" y="247"/>
                </a:moveTo>
                <a:lnTo>
                  <a:pt x="510194" y="247"/>
                </a:lnTo>
                <a:lnTo>
                  <a:pt x="510194" y="247116"/>
                </a:lnTo>
                <a:lnTo>
                  <a:pt x="442470" y="247116"/>
                </a:lnTo>
                <a:close/>
                <a:moveTo>
                  <a:pt x="248102" y="247"/>
                </a:moveTo>
                <a:lnTo>
                  <a:pt x="250146" y="247"/>
                </a:lnTo>
                <a:lnTo>
                  <a:pt x="249899" y="247077"/>
                </a:lnTo>
                <a:lnTo>
                  <a:pt x="249900" y="247078"/>
                </a:lnTo>
                <a:lnTo>
                  <a:pt x="249900" y="247113"/>
                </a:lnTo>
                <a:lnTo>
                  <a:pt x="249899" y="247111"/>
                </a:lnTo>
                <a:lnTo>
                  <a:pt x="249899" y="247113"/>
                </a:lnTo>
                <a:lnTo>
                  <a:pt x="249899" y="247114"/>
                </a:lnTo>
                <a:lnTo>
                  <a:pt x="249899" y="247116"/>
                </a:lnTo>
                <a:lnTo>
                  <a:pt x="249864" y="247116"/>
                </a:lnTo>
                <a:lnTo>
                  <a:pt x="249864" y="247114"/>
                </a:lnTo>
                <a:lnTo>
                  <a:pt x="0" y="247114"/>
                </a:lnTo>
                <a:cubicBezTo>
                  <a:pt x="246" y="226289"/>
                  <a:pt x="2784" y="205994"/>
                  <a:pt x="7858" y="186719"/>
                </a:cubicBezTo>
                <a:lnTo>
                  <a:pt x="249861" y="247105"/>
                </a:lnTo>
                <a:lnTo>
                  <a:pt x="249859" y="247095"/>
                </a:lnTo>
                <a:lnTo>
                  <a:pt x="24103" y="142073"/>
                </a:lnTo>
                <a:cubicBezTo>
                  <a:pt x="32736" y="123539"/>
                  <a:pt x="43906" y="106273"/>
                  <a:pt x="56837" y="90557"/>
                </a:cubicBezTo>
                <a:lnTo>
                  <a:pt x="249854" y="247076"/>
                </a:lnTo>
                <a:lnTo>
                  <a:pt x="249834" y="246997"/>
                </a:lnTo>
                <a:lnTo>
                  <a:pt x="92849" y="55039"/>
                </a:lnTo>
                <a:cubicBezTo>
                  <a:pt x="108600" y="42353"/>
                  <a:pt x="125831" y="31712"/>
                  <a:pt x="144612" y="23078"/>
                </a:cubicBezTo>
                <a:lnTo>
                  <a:pt x="249821" y="246945"/>
                </a:lnTo>
                <a:lnTo>
                  <a:pt x="189750" y="7364"/>
                </a:lnTo>
                <a:cubicBezTo>
                  <a:pt x="208531" y="2784"/>
                  <a:pt x="228052" y="247"/>
                  <a:pt x="248102" y="247"/>
                </a:cubicBezTo>
                <a:close/>
                <a:moveTo>
                  <a:pt x="352898" y="0"/>
                </a:moveTo>
                <a:lnTo>
                  <a:pt x="430524" y="0"/>
                </a:lnTo>
                <a:lnTo>
                  <a:pt x="330557" y="124315"/>
                </a:lnTo>
                <a:lnTo>
                  <a:pt x="431017" y="247116"/>
                </a:lnTo>
                <a:lnTo>
                  <a:pt x="355716" y="247116"/>
                </a:lnTo>
                <a:lnTo>
                  <a:pt x="266144" y="150954"/>
                </a:lnTo>
                <a:lnTo>
                  <a:pt x="266144" y="95916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r>
              <a:rPr lang="en-US" noProof="1"/>
              <a:t> dsafasdfadsfdsfasdfsadfasdfadsf sdaf asdfasdf</a:t>
            </a:r>
          </a:p>
        </p:txBody>
      </p:sp>
    </p:spTree>
    <p:extLst>
      <p:ext uri="{BB962C8B-B14F-4D97-AF65-F5344CB8AC3E}">
        <p14:creationId xmlns:p14="http://schemas.microsoft.com/office/powerpoint/2010/main" val="1636307233"/>
      </p:ext>
    </p:extLst>
  </p:cSld>
  <p:clrMapOvr>
    <a:masterClrMapping/>
  </p:clrMapOvr>
  <p:transition>
    <p:fad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 and 2x Picture vertical (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15">
            <a:extLst>
              <a:ext uri="{FF2B5EF4-FFF2-40B4-BE49-F238E27FC236}">
                <a16:creationId xmlns:a16="http://schemas.microsoft.com/office/drawing/2014/main" id="{21C31316-62F6-D18F-1737-CCC5C0FA2DBA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4259263" y="0"/>
            <a:ext cx="3967200" cy="6858000"/>
          </a:xfrm>
        </p:spPr>
        <p:txBody>
          <a:bodyPr tIns="900000" anchor="ctr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00"/>
            </a:lvl1pPr>
          </a:lstStyle>
          <a:p>
            <a:r>
              <a:rPr lang="en-US" dirty="0"/>
              <a:t>Insert picture by clicking on the symbol. </a:t>
            </a:r>
            <a:br>
              <a:rPr lang="en-US" dirty="0"/>
            </a:br>
            <a:br>
              <a:rPr lang="en-US" dirty="0"/>
            </a:br>
            <a:r>
              <a:rPr lang="en-US" dirty="0"/>
              <a:t>Alternatively, copy the image to the clipboard,</a:t>
            </a:r>
            <a:br>
              <a:rPr lang="en-US" dirty="0"/>
            </a:br>
            <a:r>
              <a:rPr lang="en-US" dirty="0"/>
              <a:t> select the placeholder and paste the image.</a:t>
            </a:r>
          </a:p>
        </p:txBody>
      </p:sp>
      <p:sp>
        <p:nvSpPr>
          <p:cNvPr id="4" name="Bildplatzhalter 15">
            <a:extLst>
              <a:ext uri="{FF2B5EF4-FFF2-40B4-BE49-F238E27FC236}">
                <a16:creationId xmlns:a16="http://schemas.microsoft.com/office/drawing/2014/main" id="{9ECB9B22-62D9-8BEF-B4AF-E3D501B30BF1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 bwMode="gray">
          <a:xfrm>
            <a:off x="8224800" y="0"/>
            <a:ext cx="3967200" cy="6858000"/>
          </a:xfrm>
        </p:spPr>
        <p:txBody>
          <a:bodyPr tIns="900000" anchor="ctr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00"/>
            </a:lvl1pPr>
          </a:lstStyle>
          <a:p>
            <a:r>
              <a:rPr lang="en-US" dirty="0"/>
              <a:t>Insert picture by clicking on the symbol. </a:t>
            </a:r>
            <a:br>
              <a:rPr lang="en-US" dirty="0"/>
            </a:br>
            <a:br>
              <a:rPr lang="en-US" dirty="0"/>
            </a:br>
            <a:r>
              <a:rPr lang="en-US" dirty="0"/>
              <a:t>Alternatively, copy the image to the clipboard,</a:t>
            </a:r>
            <a:br>
              <a:rPr lang="en-US" dirty="0"/>
            </a:br>
            <a:r>
              <a:rPr lang="en-US" dirty="0"/>
              <a:t> select the placeholder and paste the image.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705B1CE1-6CC9-F59B-4D70-B6BAA153740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71475" y="368299"/>
            <a:ext cx="3671889" cy="1008063"/>
          </a:xfrm>
        </p:spPr>
        <p:txBody>
          <a:bodyPr/>
          <a:lstStyle/>
          <a:p>
            <a:r>
              <a:rPr lang="en-US" dirty="0"/>
              <a:t>Add Title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7B8292EB-A174-4AF5-E760-21B84099238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371474" y="1592263"/>
            <a:ext cx="3671889" cy="4684711"/>
          </a:xfrm>
        </p:spPr>
        <p:txBody>
          <a:bodyPr/>
          <a:lstStyle/>
          <a:p>
            <a:pPr lvl="0"/>
            <a:r>
              <a:rPr lang="en-US" dirty="0"/>
              <a:t>Add text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0946D4BB-B535-21BF-5706-F2593173BAA1}"/>
              </a:ext>
            </a:extLst>
          </p:cNvPr>
          <p:cNvSpPr/>
          <p:nvPr userDrawn="1"/>
        </p:nvSpPr>
        <p:spPr bwMode="gray">
          <a:xfrm>
            <a:off x="12233756" y="6026150"/>
            <a:ext cx="1963144" cy="828677"/>
          </a:xfrm>
          <a:prstGeom prst="rect">
            <a:avLst/>
          </a:prstGeom>
          <a:solidFill>
            <a:schemeClr val="bg1"/>
          </a:solidFill>
          <a:ln w="6350"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44000" tIns="144000" rIns="144000" bIns="144000" rtlCol="0" anchor="ctr"/>
          <a:lstStyle/>
          <a:p>
            <a:pPr algn="l"/>
            <a:r>
              <a:rPr lang="en-US" sz="1000" b="1" dirty="0">
                <a:solidFill>
                  <a:schemeClr val="tx1"/>
                </a:solidFill>
              </a:rPr>
              <a:t>Logo Color</a:t>
            </a:r>
          </a:p>
          <a:p>
            <a:pPr algn="l"/>
            <a:r>
              <a:rPr lang="en-US" sz="1000" dirty="0">
                <a:solidFill>
                  <a:schemeClr val="tx1"/>
                </a:solidFill>
              </a:rPr>
              <a:t>For light images,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the logo color can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be changed to black.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442913EC-AA64-42F8-7D39-B16842087DFD}"/>
              </a:ext>
            </a:extLst>
          </p:cNvPr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fld id="{80262DB0-5878-4A29-BDD1-11904049B6CE}" type="datetime3">
              <a:rPr lang="de-DE" noProof="1" smtClean="0"/>
              <a:t>01/07/2025</a:t>
            </a:fld>
            <a:endParaRPr lang="en-US" noProof="1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9CE0DADB-FC3F-095E-4791-75B52230B02F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>
          <a:xfrm>
            <a:off x="2100264" y="6273800"/>
            <a:ext cx="1943100" cy="584200"/>
          </a:xfrm>
        </p:spPr>
        <p:txBody>
          <a:bodyPr/>
          <a:lstStyle/>
          <a:p>
            <a:r>
              <a:rPr lang="en-US" noProof="1"/>
              <a:t>Name - Title of Presentation</a:t>
            </a:r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2A1CFBF2-D69A-34C8-B3BD-C059BF951A1E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776FC98F-84AD-404B-BCCB-49E092AA6DE0}" type="slidenum">
              <a:rPr lang="en-US" noProof="1" smtClean="0"/>
              <a:pPr/>
              <a:t>‹#›</a:t>
            </a:fld>
            <a:endParaRPr lang="en-US" noProof="1"/>
          </a:p>
        </p:txBody>
      </p:sp>
      <p:sp>
        <p:nvSpPr>
          <p:cNvPr id="10" name="SmartArt Placeholder 9">
            <a:extLst>
              <a:ext uri="{FF2B5EF4-FFF2-40B4-BE49-F238E27FC236}">
                <a16:creationId xmlns:a16="http://schemas.microsoft.com/office/drawing/2014/main" id="{B89CE0D6-653F-7F8C-F948-4496D414E60D}"/>
              </a:ext>
            </a:extLst>
          </p:cNvPr>
          <p:cNvSpPr>
            <a:spLocks noGrp="1" noChangeAspect="1"/>
          </p:cNvSpPr>
          <p:nvPr>
            <p:ph type="dgm" sz="quarter" idx="21" hasCustomPrompt="1"/>
          </p:nvPr>
        </p:nvSpPr>
        <p:spPr bwMode="gray">
          <a:xfrm>
            <a:off x="11140463" y="6437457"/>
            <a:ext cx="689586" cy="247362"/>
          </a:xfrm>
          <a:custGeom>
            <a:avLst/>
            <a:gdLst>
              <a:gd name="connsiteX0" fmla="*/ 526439 w 689586"/>
              <a:gd name="connsiteY0" fmla="*/ 247 h 247362"/>
              <a:gd name="connsiteX1" fmla="*/ 689586 w 689586"/>
              <a:gd name="connsiteY1" fmla="*/ 247 h 247362"/>
              <a:gd name="connsiteX2" fmla="*/ 689586 w 689586"/>
              <a:gd name="connsiteY2" fmla="*/ 55816 h 247362"/>
              <a:gd name="connsiteX3" fmla="*/ 641876 w 689586"/>
              <a:gd name="connsiteY3" fmla="*/ 55816 h 247362"/>
              <a:gd name="connsiteX4" fmla="*/ 641876 w 689586"/>
              <a:gd name="connsiteY4" fmla="*/ 247362 h 247362"/>
              <a:gd name="connsiteX5" fmla="*/ 574149 w 689586"/>
              <a:gd name="connsiteY5" fmla="*/ 247362 h 247362"/>
              <a:gd name="connsiteX6" fmla="*/ 574149 w 689586"/>
              <a:gd name="connsiteY6" fmla="*/ 55816 h 247362"/>
              <a:gd name="connsiteX7" fmla="*/ 526439 w 689586"/>
              <a:gd name="connsiteY7" fmla="*/ 55816 h 247362"/>
              <a:gd name="connsiteX8" fmla="*/ 442470 w 689586"/>
              <a:gd name="connsiteY8" fmla="*/ 247 h 247362"/>
              <a:gd name="connsiteX9" fmla="*/ 510194 w 689586"/>
              <a:gd name="connsiteY9" fmla="*/ 247 h 247362"/>
              <a:gd name="connsiteX10" fmla="*/ 510194 w 689586"/>
              <a:gd name="connsiteY10" fmla="*/ 247116 h 247362"/>
              <a:gd name="connsiteX11" fmla="*/ 442470 w 689586"/>
              <a:gd name="connsiteY11" fmla="*/ 247116 h 247362"/>
              <a:gd name="connsiteX12" fmla="*/ 248102 w 689586"/>
              <a:gd name="connsiteY12" fmla="*/ 247 h 247362"/>
              <a:gd name="connsiteX13" fmla="*/ 250146 w 689586"/>
              <a:gd name="connsiteY13" fmla="*/ 247 h 247362"/>
              <a:gd name="connsiteX14" fmla="*/ 249899 w 689586"/>
              <a:gd name="connsiteY14" fmla="*/ 247077 h 247362"/>
              <a:gd name="connsiteX15" fmla="*/ 249900 w 689586"/>
              <a:gd name="connsiteY15" fmla="*/ 247078 h 247362"/>
              <a:gd name="connsiteX16" fmla="*/ 249900 w 689586"/>
              <a:gd name="connsiteY16" fmla="*/ 247113 h 247362"/>
              <a:gd name="connsiteX17" fmla="*/ 249899 w 689586"/>
              <a:gd name="connsiteY17" fmla="*/ 247111 h 247362"/>
              <a:gd name="connsiteX18" fmla="*/ 249899 w 689586"/>
              <a:gd name="connsiteY18" fmla="*/ 247113 h 247362"/>
              <a:gd name="connsiteX19" fmla="*/ 249899 w 689586"/>
              <a:gd name="connsiteY19" fmla="*/ 247114 h 247362"/>
              <a:gd name="connsiteX20" fmla="*/ 249899 w 689586"/>
              <a:gd name="connsiteY20" fmla="*/ 247116 h 247362"/>
              <a:gd name="connsiteX21" fmla="*/ 249864 w 689586"/>
              <a:gd name="connsiteY21" fmla="*/ 247116 h 247362"/>
              <a:gd name="connsiteX22" fmla="*/ 249864 w 689586"/>
              <a:gd name="connsiteY22" fmla="*/ 247114 h 247362"/>
              <a:gd name="connsiteX23" fmla="*/ 0 w 689586"/>
              <a:gd name="connsiteY23" fmla="*/ 247114 h 247362"/>
              <a:gd name="connsiteX24" fmla="*/ 7858 w 689586"/>
              <a:gd name="connsiteY24" fmla="*/ 186719 h 247362"/>
              <a:gd name="connsiteX25" fmla="*/ 249861 w 689586"/>
              <a:gd name="connsiteY25" fmla="*/ 247105 h 247362"/>
              <a:gd name="connsiteX26" fmla="*/ 249859 w 689586"/>
              <a:gd name="connsiteY26" fmla="*/ 247095 h 247362"/>
              <a:gd name="connsiteX27" fmla="*/ 24103 w 689586"/>
              <a:gd name="connsiteY27" fmla="*/ 142073 h 247362"/>
              <a:gd name="connsiteX28" fmla="*/ 56837 w 689586"/>
              <a:gd name="connsiteY28" fmla="*/ 90557 h 247362"/>
              <a:gd name="connsiteX29" fmla="*/ 249854 w 689586"/>
              <a:gd name="connsiteY29" fmla="*/ 247076 h 247362"/>
              <a:gd name="connsiteX30" fmla="*/ 249834 w 689586"/>
              <a:gd name="connsiteY30" fmla="*/ 246997 h 247362"/>
              <a:gd name="connsiteX31" fmla="*/ 92849 w 689586"/>
              <a:gd name="connsiteY31" fmla="*/ 55039 h 247362"/>
              <a:gd name="connsiteX32" fmla="*/ 144612 w 689586"/>
              <a:gd name="connsiteY32" fmla="*/ 23078 h 247362"/>
              <a:gd name="connsiteX33" fmla="*/ 249821 w 689586"/>
              <a:gd name="connsiteY33" fmla="*/ 246945 h 247362"/>
              <a:gd name="connsiteX34" fmla="*/ 189750 w 689586"/>
              <a:gd name="connsiteY34" fmla="*/ 7364 h 247362"/>
              <a:gd name="connsiteX35" fmla="*/ 248102 w 689586"/>
              <a:gd name="connsiteY35" fmla="*/ 247 h 247362"/>
              <a:gd name="connsiteX36" fmla="*/ 352898 w 689586"/>
              <a:gd name="connsiteY36" fmla="*/ 0 h 247362"/>
              <a:gd name="connsiteX37" fmla="*/ 430524 w 689586"/>
              <a:gd name="connsiteY37" fmla="*/ 0 h 247362"/>
              <a:gd name="connsiteX38" fmla="*/ 330557 w 689586"/>
              <a:gd name="connsiteY38" fmla="*/ 124315 h 247362"/>
              <a:gd name="connsiteX39" fmla="*/ 431017 w 689586"/>
              <a:gd name="connsiteY39" fmla="*/ 247116 h 247362"/>
              <a:gd name="connsiteX40" fmla="*/ 355716 w 689586"/>
              <a:gd name="connsiteY40" fmla="*/ 247116 h 247362"/>
              <a:gd name="connsiteX41" fmla="*/ 266144 w 689586"/>
              <a:gd name="connsiteY41" fmla="*/ 150954 h 247362"/>
              <a:gd name="connsiteX42" fmla="*/ 266144 w 689586"/>
              <a:gd name="connsiteY42" fmla="*/ 95916 h 2473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</a:cxnLst>
            <a:rect l="l" t="t" r="r" b="b"/>
            <a:pathLst>
              <a:path w="689586" h="247362">
                <a:moveTo>
                  <a:pt x="526439" y="247"/>
                </a:moveTo>
                <a:lnTo>
                  <a:pt x="689586" y="247"/>
                </a:lnTo>
                <a:lnTo>
                  <a:pt x="689586" y="55816"/>
                </a:lnTo>
                <a:lnTo>
                  <a:pt x="641876" y="55816"/>
                </a:lnTo>
                <a:lnTo>
                  <a:pt x="641876" y="247362"/>
                </a:lnTo>
                <a:lnTo>
                  <a:pt x="574149" y="247362"/>
                </a:lnTo>
                <a:lnTo>
                  <a:pt x="574149" y="55816"/>
                </a:lnTo>
                <a:lnTo>
                  <a:pt x="526439" y="55816"/>
                </a:lnTo>
                <a:close/>
                <a:moveTo>
                  <a:pt x="442470" y="247"/>
                </a:moveTo>
                <a:lnTo>
                  <a:pt x="510194" y="247"/>
                </a:lnTo>
                <a:lnTo>
                  <a:pt x="510194" y="247116"/>
                </a:lnTo>
                <a:lnTo>
                  <a:pt x="442470" y="247116"/>
                </a:lnTo>
                <a:close/>
                <a:moveTo>
                  <a:pt x="248102" y="247"/>
                </a:moveTo>
                <a:lnTo>
                  <a:pt x="250146" y="247"/>
                </a:lnTo>
                <a:lnTo>
                  <a:pt x="249899" y="247077"/>
                </a:lnTo>
                <a:lnTo>
                  <a:pt x="249900" y="247078"/>
                </a:lnTo>
                <a:lnTo>
                  <a:pt x="249900" y="247113"/>
                </a:lnTo>
                <a:lnTo>
                  <a:pt x="249899" y="247111"/>
                </a:lnTo>
                <a:lnTo>
                  <a:pt x="249899" y="247113"/>
                </a:lnTo>
                <a:lnTo>
                  <a:pt x="249899" y="247114"/>
                </a:lnTo>
                <a:lnTo>
                  <a:pt x="249899" y="247116"/>
                </a:lnTo>
                <a:lnTo>
                  <a:pt x="249864" y="247116"/>
                </a:lnTo>
                <a:lnTo>
                  <a:pt x="249864" y="247114"/>
                </a:lnTo>
                <a:lnTo>
                  <a:pt x="0" y="247114"/>
                </a:lnTo>
                <a:cubicBezTo>
                  <a:pt x="246" y="226289"/>
                  <a:pt x="2784" y="205994"/>
                  <a:pt x="7858" y="186719"/>
                </a:cubicBezTo>
                <a:lnTo>
                  <a:pt x="249861" y="247105"/>
                </a:lnTo>
                <a:lnTo>
                  <a:pt x="249859" y="247095"/>
                </a:lnTo>
                <a:lnTo>
                  <a:pt x="24103" y="142073"/>
                </a:lnTo>
                <a:cubicBezTo>
                  <a:pt x="32736" y="123539"/>
                  <a:pt x="43906" y="106273"/>
                  <a:pt x="56837" y="90557"/>
                </a:cubicBezTo>
                <a:lnTo>
                  <a:pt x="249854" y="247076"/>
                </a:lnTo>
                <a:lnTo>
                  <a:pt x="249834" y="246997"/>
                </a:lnTo>
                <a:lnTo>
                  <a:pt x="92849" y="55039"/>
                </a:lnTo>
                <a:cubicBezTo>
                  <a:pt x="108600" y="42353"/>
                  <a:pt x="125831" y="31712"/>
                  <a:pt x="144612" y="23078"/>
                </a:cubicBezTo>
                <a:lnTo>
                  <a:pt x="249821" y="246945"/>
                </a:lnTo>
                <a:lnTo>
                  <a:pt x="189750" y="7364"/>
                </a:lnTo>
                <a:cubicBezTo>
                  <a:pt x="208531" y="2784"/>
                  <a:pt x="228052" y="247"/>
                  <a:pt x="248102" y="247"/>
                </a:cubicBezTo>
                <a:close/>
                <a:moveTo>
                  <a:pt x="352898" y="0"/>
                </a:moveTo>
                <a:lnTo>
                  <a:pt x="430524" y="0"/>
                </a:lnTo>
                <a:lnTo>
                  <a:pt x="330557" y="124315"/>
                </a:lnTo>
                <a:lnTo>
                  <a:pt x="431017" y="247116"/>
                </a:lnTo>
                <a:lnTo>
                  <a:pt x="355716" y="247116"/>
                </a:lnTo>
                <a:lnTo>
                  <a:pt x="266144" y="150954"/>
                </a:lnTo>
                <a:lnTo>
                  <a:pt x="266144" y="95916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r>
              <a:rPr lang="en-US" noProof="1"/>
              <a:t> dsafasdfadsfdsfasdfsadfasdfadsf sdaf asdfasdf</a:t>
            </a:r>
          </a:p>
        </p:txBody>
      </p:sp>
    </p:spTree>
    <p:extLst>
      <p:ext uri="{BB962C8B-B14F-4D97-AF65-F5344CB8AC3E}">
        <p14:creationId xmlns:p14="http://schemas.microsoft.com/office/powerpoint/2010/main" val="2099785044"/>
      </p:ext>
    </p:extLst>
  </p:cSld>
  <p:clrMapOvr>
    <a:masterClrMapping/>
  </p:clrMapOvr>
  <p:transition>
    <p:fade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 and 4x Picture (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15">
            <a:extLst>
              <a:ext uri="{FF2B5EF4-FFF2-40B4-BE49-F238E27FC236}">
                <a16:creationId xmlns:a16="http://schemas.microsoft.com/office/drawing/2014/main" id="{21C31316-62F6-D18F-1737-CCC5C0FA2DBA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4259263" y="0"/>
            <a:ext cx="3967200" cy="3429000"/>
          </a:xfrm>
        </p:spPr>
        <p:txBody>
          <a:bodyPr tIns="900000" anchor="ctr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00"/>
            </a:lvl1pPr>
          </a:lstStyle>
          <a:p>
            <a:r>
              <a:rPr lang="en-US" dirty="0"/>
              <a:t>Insert picture by clicking on the symbol. </a:t>
            </a:r>
            <a:br>
              <a:rPr lang="en-US" dirty="0"/>
            </a:br>
            <a:br>
              <a:rPr lang="en-US" dirty="0"/>
            </a:br>
            <a:r>
              <a:rPr lang="en-US" dirty="0"/>
              <a:t>Alternatively, copy the image to the clipboard,</a:t>
            </a:r>
            <a:br>
              <a:rPr lang="en-US" dirty="0"/>
            </a:br>
            <a:r>
              <a:rPr lang="en-US" dirty="0"/>
              <a:t> select the placeholder and paste the image.</a:t>
            </a:r>
          </a:p>
        </p:txBody>
      </p:sp>
      <p:sp>
        <p:nvSpPr>
          <p:cNvPr id="4" name="Bildplatzhalter 15">
            <a:extLst>
              <a:ext uri="{FF2B5EF4-FFF2-40B4-BE49-F238E27FC236}">
                <a16:creationId xmlns:a16="http://schemas.microsoft.com/office/drawing/2014/main" id="{9ECB9B22-62D9-8BEF-B4AF-E3D501B30BF1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 bwMode="gray">
          <a:xfrm>
            <a:off x="8224800" y="0"/>
            <a:ext cx="3967200" cy="3429000"/>
          </a:xfrm>
        </p:spPr>
        <p:txBody>
          <a:bodyPr tIns="900000" anchor="ctr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00"/>
            </a:lvl1pPr>
          </a:lstStyle>
          <a:p>
            <a:r>
              <a:rPr lang="en-US" dirty="0"/>
              <a:t>Insert picture by clicking on the symbol. </a:t>
            </a:r>
            <a:br>
              <a:rPr lang="en-US" dirty="0"/>
            </a:br>
            <a:br>
              <a:rPr lang="en-US" dirty="0"/>
            </a:br>
            <a:r>
              <a:rPr lang="en-US" dirty="0"/>
              <a:t>Alternatively, copy the image to the clipboard,</a:t>
            </a:r>
            <a:br>
              <a:rPr lang="en-US" dirty="0"/>
            </a:br>
            <a:r>
              <a:rPr lang="en-US" dirty="0"/>
              <a:t> select the placeholder and paste the image.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705B1CE1-6CC9-F59B-4D70-B6BAA153740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71475" y="368299"/>
            <a:ext cx="3671889" cy="1008063"/>
          </a:xfrm>
        </p:spPr>
        <p:txBody>
          <a:bodyPr/>
          <a:lstStyle/>
          <a:p>
            <a:r>
              <a:rPr lang="en-US" dirty="0"/>
              <a:t>Add Title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7B8292EB-A174-4AF5-E760-21B84099238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371474" y="1592263"/>
            <a:ext cx="3671889" cy="4684711"/>
          </a:xfrm>
        </p:spPr>
        <p:txBody>
          <a:bodyPr/>
          <a:lstStyle/>
          <a:p>
            <a:pPr lvl="0"/>
            <a:r>
              <a:rPr lang="en-US" dirty="0"/>
              <a:t>Add text</a:t>
            </a:r>
          </a:p>
        </p:txBody>
      </p:sp>
      <p:sp>
        <p:nvSpPr>
          <p:cNvPr id="10" name="Bildplatzhalter 15">
            <a:extLst>
              <a:ext uri="{FF2B5EF4-FFF2-40B4-BE49-F238E27FC236}">
                <a16:creationId xmlns:a16="http://schemas.microsoft.com/office/drawing/2014/main" id="{7F82C154-C2F8-0DAB-C0BD-5339CDD093A6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 bwMode="gray">
          <a:xfrm>
            <a:off x="4259263" y="3429000"/>
            <a:ext cx="3967200" cy="3429000"/>
          </a:xfrm>
        </p:spPr>
        <p:txBody>
          <a:bodyPr tIns="900000" anchor="ctr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00"/>
            </a:lvl1pPr>
          </a:lstStyle>
          <a:p>
            <a:r>
              <a:rPr lang="en-US" dirty="0"/>
              <a:t>Insert picture by clicking on the symbol. </a:t>
            </a:r>
            <a:br>
              <a:rPr lang="en-US" dirty="0"/>
            </a:br>
            <a:br>
              <a:rPr lang="en-US" dirty="0"/>
            </a:br>
            <a:r>
              <a:rPr lang="en-US" dirty="0"/>
              <a:t>Alternatively, copy the image to the clipboard,</a:t>
            </a:r>
            <a:br>
              <a:rPr lang="en-US" dirty="0"/>
            </a:br>
            <a:r>
              <a:rPr lang="en-US" dirty="0"/>
              <a:t> select the placeholder and paste the image.</a:t>
            </a:r>
          </a:p>
        </p:txBody>
      </p:sp>
      <p:sp>
        <p:nvSpPr>
          <p:cNvPr id="11" name="Bildplatzhalter 15">
            <a:extLst>
              <a:ext uri="{FF2B5EF4-FFF2-40B4-BE49-F238E27FC236}">
                <a16:creationId xmlns:a16="http://schemas.microsoft.com/office/drawing/2014/main" id="{20C756FA-7475-759D-D898-FED49EC21C63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 bwMode="gray">
          <a:xfrm>
            <a:off x="8224800" y="3429000"/>
            <a:ext cx="3967200" cy="3429000"/>
          </a:xfrm>
        </p:spPr>
        <p:txBody>
          <a:bodyPr tIns="900000" anchor="ctr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00"/>
            </a:lvl1pPr>
          </a:lstStyle>
          <a:p>
            <a:r>
              <a:rPr lang="en-US" dirty="0"/>
              <a:t>Insert picture by clicking on the symbol. </a:t>
            </a:r>
            <a:br>
              <a:rPr lang="en-US" dirty="0"/>
            </a:br>
            <a:br>
              <a:rPr lang="en-US" dirty="0"/>
            </a:br>
            <a:r>
              <a:rPr lang="en-US" dirty="0"/>
              <a:t>Alternatively, copy the image to the clipboard,</a:t>
            </a:r>
            <a:br>
              <a:rPr lang="en-US" dirty="0"/>
            </a:br>
            <a:r>
              <a:rPr lang="en-US" dirty="0"/>
              <a:t> select the placeholder and paste the image.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E3376BD9-6CCE-719E-7D39-A434E6F082BA}"/>
              </a:ext>
            </a:extLst>
          </p:cNvPr>
          <p:cNvSpPr/>
          <p:nvPr userDrawn="1"/>
        </p:nvSpPr>
        <p:spPr bwMode="gray">
          <a:xfrm>
            <a:off x="12233756" y="6026150"/>
            <a:ext cx="1963144" cy="828677"/>
          </a:xfrm>
          <a:prstGeom prst="rect">
            <a:avLst/>
          </a:prstGeom>
          <a:solidFill>
            <a:schemeClr val="bg1"/>
          </a:solidFill>
          <a:ln w="6350"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44000" tIns="144000" rIns="144000" bIns="144000" rtlCol="0" anchor="ctr"/>
          <a:lstStyle/>
          <a:p>
            <a:pPr algn="l"/>
            <a:r>
              <a:rPr lang="en-US" sz="1000" b="1" dirty="0">
                <a:solidFill>
                  <a:schemeClr val="tx1"/>
                </a:solidFill>
              </a:rPr>
              <a:t>Logo Color</a:t>
            </a:r>
          </a:p>
          <a:p>
            <a:pPr algn="l"/>
            <a:r>
              <a:rPr lang="en-US" sz="1000" dirty="0">
                <a:solidFill>
                  <a:schemeClr val="tx1"/>
                </a:solidFill>
              </a:rPr>
              <a:t>For light images,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the logo color can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be changed to black.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3230D9CD-2193-97AA-1758-B1FC1421DAAF}"/>
              </a:ext>
            </a:extLst>
          </p:cNvPr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fld id="{707CED4E-5DC2-4A5C-AB35-0A6C404B6149}" type="datetime3">
              <a:rPr lang="de-DE" noProof="1" smtClean="0"/>
              <a:t>01/07/2025</a:t>
            </a:fld>
            <a:endParaRPr lang="en-US" noProof="1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219C73A4-0550-88A3-B15C-D839D27C3A41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>
          <a:xfrm>
            <a:off x="2100264" y="6273800"/>
            <a:ext cx="1943100" cy="584200"/>
          </a:xfrm>
        </p:spPr>
        <p:txBody>
          <a:bodyPr/>
          <a:lstStyle/>
          <a:p>
            <a:r>
              <a:rPr lang="en-US" noProof="1"/>
              <a:t>Name - Title of Presentation</a:t>
            </a:r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09BE537-47E8-E28E-E31C-569B375CD31F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fld id="{776FC98F-84AD-404B-BCCB-49E092AA6DE0}" type="slidenum">
              <a:rPr lang="en-US" noProof="1" smtClean="0"/>
              <a:pPr/>
              <a:t>‹#›</a:t>
            </a:fld>
            <a:endParaRPr lang="en-US" noProof="1"/>
          </a:p>
        </p:txBody>
      </p:sp>
      <p:sp>
        <p:nvSpPr>
          <p:cNvPr id="12" name="SmartArt Placeholder 11">
            <a:extLst>
              <a:ext uri="{FF2B5EF4-FFF2-40B4-BE49-F238E27FC236}">
                <a16:creationId xmlns:a16="http://schemas.microsoft.com/office/drawing/2014/main" id="{CC855A49-14E5-453A-4AAE-9D55DDBC3682}"/>
              </a:ext>
            </a:extLst>
          </p:cNvPr>
          <p:cNvSpPr>
            <a:spLocks noGrp="1" noChangeAspect="1"/>
          </p:cNvSpPr>
          <p:nvPr>
            <p:ph type="dgm" sz="quarter" idx="21" hasCustomPrompt="1"/>
          </p:nvPr>
        </p:nvSpPr>
        <p:spPr bwMode="gray">
          <a:xfrm>
            <a:off x="11140463" y="6437457"/>
            <a:ext cx="689586" cy="247362"/>
          </a:xfrm>
          <a:custGeom>
            <a:avLst/>
            <a:gdLst>
              <a:gd name="connsiteX0" fmla="*/ 526439 w 689586"/>
              <a:gd name="connsiteY0" fmla="*/ 247 h 247362"/>
              <a:gd name="connsiteX1" fmla="*/ 689586 w 689586"/>
              <a:gd name="connsiteY1" fmla="*/ 247 h 247362"/>
              <a:gd name="connsiteX2" fmla="*/ 689586 w 689586"/>
              <a:gd name="connsiteY2" fmla="*/ 55816 h 247362"/>
              <a:gd name="connsiteX3" fmla="*/ 641876 w 689586"/>
              <a:gd name="connsiteY3" fmla="*/ 55816 h 247362"/>
              <a:gd name="connsiteX4" fmla="*/ 641876 w 689586"/>
              <a:gd name="connsiteY4" fmla="*/ 247362 h 247362"/>
              <a:gd name="connsiteX5" fmla="*/ 574149 w 689586"/>
              <a:gd name="connsiteY5" fmla="*/ 247362 h 247362"/>
              <a:gd name="connsiteX6" fmla="*/ 574149 w 689586"/>
              <a:gd name="connsiteY6" fmla="*/ 55816 h 247362"/>
              <a:gd name="connsiteX7" fmla="*/ 526439 w 689586"/>
              <a:gd name="connsiteY7" fmla="*/ 55816 h 247362"/>
              <a:gd name="connsiteX8" fmla="*/ 442470 w 689586"/>
              <a:gd name="connsiteY8" fmla="*/ 247 h 247362"/>
              <a:gd name="connsiteX9" fmla="*/ 510194 w 689586"/>
              <a:gd name="connsiteY9" fmla="*/ 247 h 247362"/>
              <a:gd name="connsiteX10" fmla="*/ 510194 w 689586"/>
              <a:gd name="connsiteY10" fmla="*/ 247116 h 247362"/>
              <a:gd name="connsiteX11" fmla="*/ 442470 w 689586"/>
              <a:gd name="connsiteY11" fmla="*/ 247116 h 247362"/>
              <a:gd name="connsiteX12" fmla="*/ 248102 w 689586"/>
              <a:gd name="connsiteY12" fmla="*/ 247 h 247362"/>
              <a:gd name="connsiteX13" fmla="*/ 250146 w 689586"/>
              <a:gd name="connsiteY13" fmla="*/ 247 h 247362"/>
              <a:gd name="connsiteX14" fmla="*/ 249899 w 689586"/>
              <a:gd name="connsiteY14" fmla="*/ 247077 h 247362"/>
              <a:gd name="connsiteX15" fmla="*/ 249900 w 689586"/>
              <a:gd name="connsiteY15" fmla="*/ 247078 h 247362"/>
              <a:gd name="connsiteX16" fmla="*/ 249900 w 689586"/>
              <a:gd name="connsiteY16" fmla="*/ 247113 h 247362"/>
              <a:gd name="connsiteX17" fmla="*/ 249899 w 689586"/>
              <a:gd name="connsiteY17" fmla="*/ 247111 h 247362"/>
              <a:gd name="connsiteX18" fmla="*/ 249899 w 689586"/>
              <a:gd name="connsiteY18" fmla="*/ 247113 h 247362"/>
              <a:gd name="connsiteX19" fmla="*/ 249899 w 689586"/>
              <a:gd name="connsiteY19" fmla="*/ 247114 h 247362"/>
              <a:gd name="connsiteX20" fmla="*/ 249899 w 689586"/>
              <a:gd name="connsiteY20" fmla="*/ 247116 h 247362"/>
              <a:gd name="connsiteX21" fmla="*/ 249864 w 689586"/>
              <a:gd name="connsiteY21" fmla="*/ 247116 h 247362"/>
              <a:gd name="connsiteX22" fmla="*/ 249864 w 689586"/>
              <a:gd name="connsiteY22" fmla="*/ 247114 h 247362"/>
              <a:gd name="connsiteX23" fmla="*/ 0 w 689586"/>
              <a:gd name="connsiteY23" fmla="*/ 247114 h 247362"/>
              <a:gd name="connsiteX24" fmla="*/ 7858 w 689586"/>
              <a:gd name="connsiteY24" fmla="*/ 186719 h 247362"/>
              <a:gd name="connsiteX25" fmla="*/ 249861 w 689586"/>
              <a:gd name="connsiteY25" fmla="*/ 247105 h 247362"/>
              <a:gd name="connsiteX26" fmla="*/ 249859 w 689586"/>
              <a:gd name="connsiteY26" fmla="*/ 247095 h 247362"/>
              <a:gd name="connsiteX27" fmla="*/ 24103 w 689586"/>
              <a:gd name="connsiteY27" fmla="*/ 142073 h 247362"/>
              <a:gd name="connsiteX28" fmla="*/ 56837 w 689586"/>
              <a:gd name="connsiteY28" fmla="*/ 90557 h 247362"/>
              <a:gd name="connsiteX29" fmla="*/ 249854 w 689586"/>
              <a:gd name="connsiteY29" fmla="*/ 247076 h 247362"/>
              <a:gd name="connsiteX30" fmla="*/ 249834 w 689586"/>
              <a:gd name="connsiteY30" fmla="*/ 246997 h 247362"/>
              <a:gd name="connsiteX31" fmla="*/ 92849 w 689586"/>
              <a:gd name="connsiteY31" fmla="*/ 55039 h 247362"/>
              <a:gd name="connsiteX32" fmla="*/ 144612 w 689586"/>
              <a:gd name="connsiteY32" fmla="*/ 23078 h 247362"/>
              <a:gd name="connsiteX33" fmla="*/ 249821 w 689586"/>
              <a:gd name="connsiteY33" fmla="*/ 246945 h 247362"/>
              <a:gd name="connsiteX34" fmla="*/ 189750 w 689586"/>
              <a:gd name="connsiteY34" fmla="*/ 7364 h 247362"/>
              <a:gd name="connsiteX35" fmla="*/ 248102 w 689586"/>
              <a:gd name="connsiteY35" fmla="*/ 247 h 247362"/>
              <a:gd name="connsiteX36" fmla="*/ 352898 w 689586"/>
              <a:gd name="connsiteY36" fmla="*/ 0 h 247362"/>
              <a:gd name="connsiteX37" fmla="*/ 430524 w 689586"/>
              <a:gd name="connsiteY37" fmla="*/ 0 h 247362"/>
              <a:gd name="connsiteX38" fmla="*/ 330557 w 689586"/>
              <a:gd name="connsiteY38" fmla="*/ 124315 h 247362"/>
              <a:gd name="connsiteX39" fmla="*/ 431017 w 689586"/>
              <a:gd name="connsiteY39" fmla="*/ 247116 h 247362"/>
              <a:gd name="connsiteX40" fmla="*/ 355716 w 689586"/>
              <a:gd name="connsiteY40" fmla="*/ 247116 h 247362"/>
              <a:gd name="connsiteX41" fmla="*/ 266144 w 689586"/>
              <a:gd name="connsiteY41" fmla="*/ 150954 h 247362"/>
              <a:gd name="connsiteX42" fmla="*/ 266144 w 689586"/>
              <a:gd name="connsiteY42" fmla="*/ 95916 h 2473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</a:cxnLst>
            <a:rect l="l" t="t" r="r" b="b"/>
            <a:pathLst>
              <a:path w="689586" h="247362">
                <a:moveTo>
                  <a:pt x="526439" y="247"/>
                </a:moveTo>
                <a:lnTo>
                  <a:pt x="689586" y="247"/>
                </a:lnTo>
                <a:lnTo>
                  <a:pt x="689586" y="55816"/>
                </a:lnTo>
                <a:lnTo>
                  <a:pt x="641876" y="55816"/>
                </a:lnTo>
                <a:lnTo>
                  <a:pt x="641876" y="247362"/>
                </a:lnTo>
                <a:lnTo>
                  <a:pt x="574149" y="247362"/>
                </a:lnTo>
                <a:lnTo>
                  <a:pt x="574149" y="55816"/>
                </a:lnTo>
                <a:lnTo>
                  <a:pt x="526439" y="55816"/>
                </a:lnTo>
                <a:close/>
                <a:moveTo>
                  <a:pt x="442470" y="247"/>
                </a:moveTo>
                <a:lnTo>
                  <a:pt x="510194" y="247"/>
                </a:lnTo>
                <a:lnTo>
                  <a:pt x="510194" y="247116"/>
                </a:lnTo>
                <a:lnTo>
                  <a:pt x="442470" y="247116"/>
                </a:lnTo>
                <a:close/>
                <a:moveTo>
                  <a:pt x="248102" y="247"/>
                </a:moveTo>
                <a:lnTo>
                  <a:pt x="250146" y="247"/>
                </a:lnTo>
                <a:lnTo>
                  <a:pt x="249899" y="247077"/>
                </a:lnTo>
                <a:lnTo>
                  <a:pt x="249900" y="247078"/>
                </a:lnTo>
                <a:lnTo>
                  <a:pt x="249900" y="247113"/>
                </a:lnTo>
                <a:lnTo>
                  <a:pt x="249899" y="247111"/>
                </a:lnTo>
                <a:lnTo>
                  <a:pt x="249899" y="247113"/>
                </a:lnTo>
                <a:lnTo>
                  <a:pt x="249899" y="247114"/>
                </a:lnTo>
                <a:lnTo>
                  <a:pt x="249899" y="247116"/>
                </a:lnTo>
                <a:lnTo>
                  <a:pt x="249864" y="247116"/>
                </a:lnTo>
                <a:lnTo>
                  <a:pt x="249864" y="247114"/>
                </a:lnTo>
                <a:lnTo>
                  <a:pt x="0" y="247114"/>
                </a:lnTo>
                <a:cubicBezTo>
                  <a:pt x="246" y="226289"/>
                  <a:pt x="2784" y="205994"/>
                  <a:pt x="7858" y="186719"/>
                </a:cubicBezTo>
                <a:lnTo>
                  <a:pt x="249861" y="247105"/>
                </a:lnTo>
                <a:lnTo>
                  <a:pt x="249859" y="247095"/>
                </a:lnTo>
                <a:lnTo>
                  <a:pt x="24103" y="142073"/>
                </a:lnTo>
                <a:cubicBezTo>
                  <a:pt x="32736" y="123539"/>
                  <a:pt x="43906" y="106273"/>
                  <a:pt x="56837" y="90557"/>
                </a:cubicBezTo>
                <a:lnTo>
                  <a:pt x="249854" y="247076"/>
                </a:lnTo>
                <a:lnTo>
                  <a:pt x="249834" y="246997"/>
                </a:lnTo>
                <a:lnTo>
                  <a:pt x="92849" y="55039"/>
                </a:lnTo>
                <a:cubicBezTo>
                  <a:pt x="108600" y="42353"/>
                  <a:pt x="125831" y="31712"/>
                  <a:pt x="144612" y="23078"/>
                </a:cubicBezTo>
                <a:lnTo>
                  <a:pt x="249821" y="246945"/>
                </a:lnTo>
                <a:lnTo>
                  <a:pt x="189750" y="7364"/>
                </a:lnTo>
                <a:cubicBezTo>
                  <a:pt x="208531" y="2784"/>
                  <a:pt x="228052" y="247"/>
                  <a:pt x="248102" y="247"/>
                </a:cubicBezTo>
                <a:close/>
                <a:moveTo>
                  <a:pt x="352898" y="0"/>
                </a:moveTo>
                <a:lnTo>
                  <a:pt x="430524" y="0"/>
                </a:lnTo>
                <a:lnTo>
                  <a:pt x="330557" y="124315"/>
                </a:lnTo>
                <a:lnTo>
                  <a:pt x="431017" y="247116"/>
                </a:lnTo>
                <a:lnTo>
                  <a:pt x="355716" y="247116"/>
                </a:lnTo>
                <a:lnTo>
                  <a:pt x="266144" y="150954"/>
                </a:lnTo>
                <a:lnTo>
                  <a:pt x="266144" y="95916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r>
              <a:rPr lang="en-US" noProof="1"/>
              <a:t> dsafasdfadsfdsfasdfsadfasdfadsf sdaf asdfasdf</a:t>
            </a:r>
          </a:p>
        </p:txBody>
      </p:sp>
    </p:spTree>
    <p:extLst>
      <p:ext uri="{BB962C8B-B14F-4D97-AF65-F5344CB8AC3E}">
        <p14:creationId xmlns:p14="http://schemas.microsoft.com/office/powerpoint/2010/main" val="2401195878"/>
      </p:ext>
    </p:extLst>
  </p:cSld>
  <p:clrMapOvr>
    <a:masterClrMapping/>
  </p:clrMapOvr>
  <p:transition>
    <p:fade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x Text and Picture horizontal (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05B1CE1-6CC9-F59B-4D70-B6BAA153740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71475" y="2816225"/>
            <a:ext cx="3671889" cy="3460748"/>
          </a:xfrm>
        </p:spPr>
        <p:txBody>
          <a:bodyPr tIns="0"/>
          <a:lstStyle/>
          <a:p>
            <a:r>
              <a:rPr lang="en-US" dirty="0"/>
              <a:t>Add Title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7B8292EB-A174-4AF5-E760-21B84099238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255615" y="2816225"/>
            <a:ext cx="3671889" cy="3460749"/>
          </a:xfrm>
        </p:spPr>
        <p:txBody>
          <a:bodyPr/>
          <a:lstStyle/>
          <a:p>
            <a:pPr lvl="0"/>
            <a:r>
              <a:rPr lang="en-US" dirty="0"/>
              <a:t>Add text</a:t>
            </a:r>
          </a:p>
        </p:txBody>
      </p:sp>
      <p:sp>
        <p:nvSpPr>
          <p:cNvPr id="3" name="Textplatzhalter 7">
            <a:extLst>
              <a:ext uri="{FF2B5EF4-FFF2-40B4-BE49-F238E27FC236}">
                <a16:creationId xmlns:a16="http://schemas.microsoft.com/office/drawing/2014/main" id="{7600DACF-0260-C244-6BC3-A95B98E320D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8144990" y="2816225"/>
            <a:ext cx="3671889" cy="3460749"/>
          </a:xfrm>
        </p:spPr>
        <p:txBody>
          <a:bodyPr/>
          <a:lstStyle/>
          <a:p>
            <a:pPr lvl="0"/>
            <a:r>
              <a:rPr lang="en-US" dirty="0"/>
              <a:t>Add text</a:t>
            </a:r>
          </a:p>
        </p:txBody>
      </p:sp>
      <p:sp>
        <p:nvSpPr>
          <p:cNvPr id="7" name="Bildplatzhalter 15">
            <a:extLst>
              <a:ext uri="{FF2B5EF4-FFF2-40B4-BE49-F238E27FC236}">
                <a16:creationId xmlns:a16="http://schemas.microsoft.com/office/drawing/2014/main" id="{3D7FEBCC-B6B1-D6F4-B8C4-39CAEC3BF559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1" y="-1"/>
            <a:ext cx="12191999" cy="2600325"/>
          </a:xfrm>
        </p:spPr>
        <p:txBody>
          <a:bodyPr tIns="900000" anchor="ctr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00"/>
            </a:lvl1pPr>
          </a:lstStyle>
          <a:p>
            <a:r>
              <a:rPr lang="en-US" dirty="0"/>
              <a:t>Insert picture by clicking on the symbol. </a:t>
            </a:r>
            <a:br>
              <a:rPr lang="en-US" dirty="0"/>
            </a:br>
            <a:br>
              <a:rPr lang="en-US" dirty="0"/>
            </a:br>
            <a:r>
              <a:rPr lang="en-US" dirty="0"/>
              <a:t>Alternatively, copy the image to the clipboard,</a:t>
            </a:r>
            <a:br>
              <a:rPr lang="en-US" dirty="0"/>
            </a:br>
            <a:r>
              <a:rPr lang="en-US" dirty="0"/>
              <a:t> select the placeholder and paste the image.</a:t>
            </a:r>
          </a:p>
        </p:txBody>
      </p:sp>
      <p:sp>
        <p:nvSpPr>
          <p:cNvPr id="9" name="Datumsplatzhalter 8">
            <a:extLst>
              <a:ext uri="{FF2B5EF4-FFF2-40B4-BE49-F238E27FC236}">
                <a16:creationId xmlns:a16="http://schemas.microsoft.com/office/drawing/2014/main" id="{38BCFDEC-EEB4-FB94-494B-7A6B7C8104D6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7393170E-C4BC-45BC-A0FA-0C899C2F9EEE}" type="datetime3">
              <a:rPr lang="de-DE" smtClean="0"/>
              <a:t>01/07/2025</a:t>
            </a:fld>
            <a:endParaRPr lang="en-US" dirty="0"/>
          </a:p>
        </p:txBody>
      </p:sp>
      <p:sp>
        <p:nvSpPr>
          <p:cNvPr id="10" name="Fußzeilenplatzhalter 9">
            <a:extLst>
              <a:ext uri="{FF2B5EF4-FFF2-40B4-BE49-F238E27FC236}">
                <a16:creationId xmlns:a16="http://schemas.microsoft.com/office/drawing/2014/main" id="{E38CEE48-7318-2C48-A4DB-0374240E6DCA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US"/>
              <a:t>Name - Title of Presentation</a:t>
            </a:r>
            <a:endParaRPr lang="en-US" dirty="0"/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E2A6EAAC-D781-C247-456C-6DDB93810FE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776FC98F-84AD-404B-BCCB-49E092AA6DE0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59420440"/>
      </p:ext>
    </p:extLst>
  </p:cSld>
  <p:clrMapOvr>
    <a:masterClrMapping/>
  </p:clrMapOvr>
  <p:transition>
    <p:fade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Picture horizontal (M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05B1CE1-6CC9-F59B-4D70-B6BAA153740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71475" y="4041775"/>
            <a:ext cx="5616575" cy="2235198"/>
          </a:xfrm>
        </p:spPr>
        <p:txBody>
          <a:bodyPr tIns="0"/>
          <a:lstStyle/>
          <a:p>
            <a:r>
              <a:rPr lang="en-US" dirty="0"/>
              <a:t>Add Title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7B8292EB-A174-4AF5-E760-21B84099238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203949" y="4041775"/>
            <a:ext cx="5616575" cy="2235199"/>
          </a:xfrm>
        </p:spPr>
        <p:txBody>
          <a:bodyPr/>
          <a:lstStyle/>
          <a:p>
            <a:pPr lvl="0"/>
            <a:r>
              <a:rPr lang="en-US" dirty="0"/>
              <a:t>Add text</a:t>
            </a:r>
          </a:p>
        </p:txBody>
      </p:sp>
      <p:sp>
        <p:nvSpPr>
          <p:cNvPr id="7" name="Bildplatzhalter 15">
            <a:extLst>
              <a:ext uri="{FF2B5EF4-FFF2-40B4-BE49-F238E27FC236}">
                <a16:creationId xmlns:a16="http://schemas.microsoft.com/office/drawing/2014/main" id="{3D7FEBCC-B6B1-D6F4-B8C4-39CAEC3BF559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1" y="-1"/>
            <a:ext cx="12191999" cy="3824289"/>
          </a:xfrm>
        </p:spPr>
        <p:txBody>
          <a:bodyPr tIns="900000" anchor="ctr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00"/>
            </a:lvl1pPr>
          </a:lstStyle>
          <a:p>
            <a:r>
              <a:rPr lang="en-US" dirty="0"/>
              <a:t>Insert picture by clicking on the symbol. </a:t>
            </a:r>
            <a:br>
              <a:rPr lang="en-US" dirty="0"/>
            </a:br>
            <a:br>
              <a:rPr lang="en-US" dirty="0"/>
            </a:br>
            <a:r>
              <a:rPr lang="en-US" dirty="0"/>
              <a:t>Alternatively, copy the image to the clipboard,</a:t>
            </a:r>
            <a:br>
              <a:rPr lang="en-US" dirty="0"/>
            </a:br>
            <a:r>
              <a:rPr lang="en-US" dirty="0"/>
              <a:t> select the placeholder and paste the image.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09EC190A-F91D-A63D-5DE6-284075CC06D4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B3331D24-8C15-4D40-9C7C-9862DAA326B3}" type="datetime3">
              <a:rPr lang="de-DE" smtClean="0"/>
              <a:t>01/07/2025</a:t>
            </a:fld>
            <a:endParaRPr lang="en-US" dirty="0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7D6DBFAC-7948-6CD4-F795-0F6575875140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US"/>
              <a:t>Name - Title of Presentation</a:t>
            </a:r>
            <a:endParaRPr lang="en-US" dirty="0"/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1806FD95-1722-01B2-D054-0F1C46053F92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776FC98F-84AD-404B-BCCB-49E092AA6DE0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42665831"/>
      </p:ext>
    </p:extLst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blu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>
            <a:extLst>
              <a:ext uri="{FF2B5EF4-FFF2-40B4-BE49-F238E27FC236}">
                <a16:creationId xmlns:a16="http://schemas.microsoft.com/office/drawing/2014/main" id="{914472A9-C746-414B-A339-17009C086F0C}"/>
              </a:ext>
            </a:extLst>
          </p:cNvPr>
          <p:cNvSpPr/>
          <p:nvPr userDrawn="1"/>
        </p:nvSpPr>
        <p:spPr bwMode="gray">
          <a:xfrm>
            <a:off x="5988050" y="0"/>
            <a:ext cx="6203950" cy="6857999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446F4A2-1BBD-C6A2-7866-B5B1968C941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black">
          <a:xfrm>
            <a:off x="371475" y="368300"/>
            <a:ext cx="5616575" cy="4681538"/>
          </a:xfrm>
        </p:spPr>
        <p:txBody>
          <a:bodyPr rIns="360000" anchor="t"/>
          <a:lstStyle>
            <a:lvl1pPr algn="l">
              <a:defRPr sz="5000">
                <a:solidFill>
                  <a:schemeClr val="accent1">
                    <a:lumMod val="20000"/>
                    <a:lumOff val="80000"/>
                  </a:schemeClr>
                </a:solidFill>
              </a:defRPr>
            </a:lvl1pPr>
          </a:lstStyle>
          <a:p>
            <a:r>
              <a:rPr lang="en-US" dirty="0"/>
              <a:t>Add Title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17604293-CF1F-A295-5586-92D0F86F4A3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371475" y="5265738"/>
            <a:ext cx="5616575" cy="1011236"/>
          </a:xfrm>
        </p:spPr>
        <p:txBody>
          <a:bodyPr rIns="360000" anchor="b"/>
          <a:lstStyle>
            <a:lvl1pPr marL="0" indent="0" algn="l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None/>
              <a:defRPr sz="1600">
                <a:solidFill>
                  <a:schemeClr val="bg1"/>
                </a:solidFill>
              </a:defRPr>
            </a:lvl1pPr>
            <a:lvl2pPr marL="0" indent="0" algn="l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None/>
              <a:defRPr sz="1400">
                <a:solidFill>
                  <a:schemeClr val="bg1"/>
                </a:solidFill>
              </a:defRPr>
            </a:lvl2pPr>
            <a:lvl3pPr marL="0" indent="0" algn="l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None/>
              <a:defRPr sz="1400">
                <a:solidFill>
                  <a:schemeClr val="bg1"/>
                </a:solidFill>
              </a:defRPr>
            </a:lvl3pPr>
            <a:lvl4pPr marL="0" indent="0" algn="l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None/>
              <a:defRPr sz="1400">
                <a:solidFill>
                  <a:schemeClr val="bg1"/>
                </a:solidFill>
              </a:defRPr>
            </a:lvl4pPr>
            <a:lvl5pPr marL="0" indent="0" algn="l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None/>
              <a:defRPr sz="1400">
                <a:solidFill>
                  <a:schemeClr val="bg1"/>
                </a:solidFill>
              </a:defRPr>
            </a:lvl5pPr>
            <a:lvl6pPr marL="0" indent="0" algn="l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None/>
              <a:defRPr sz="1400">
                <a:solidFill>
                  <a:schemeClr val="bg1"/>
                </a:solidFill>
              </a:defRPr>
            </a:lvl6pPr>
            <a:lvl7pPr marL="0" indent="0" algn="l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None/>
              <a:defRPr sz="1400">
                <a:solidFill>
                  <a:schemeClr val="bg1"/>
                </a:solidFill>
              </a:defRPr>
            </a:lvl7pPr>
            <a:lvl8pPr marL="0" indent="0" algn="l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None/>
              <a:defRPr sz="1400">
                <a:solidFill>
                  <a:schemeClr val="bg1"/>
                </a:solidFill>
              </a:defRPr>
            </a:lvl8pPr>
            <a:lvl9pPr marL="0" indent="0" algn="l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None/>
              <a:defRPr sz="14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Add Subtitle</a:t>
            </a:r>
          </a:p>
        </p:txBody>
      </p:sp>
      <p:sp>
        <p:nvSpPr>
          <p:cNvPr id="16" name="Bildplatzhalter 15">
            <a:extLst>
              <a:ext uri="{FF2B5EF4-FFF2-40B4-BE49-F238E27FC236}">
                <a16:creationId xmlns:a16="http://schemas.microsoft.com/office/drawing/2014/main" id="{E617D12E-D9F2-FE30-962E-F64655611604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5988051" y="1"/>
            <a:ext cx="4103687" cy="6858000"/>
          </a:xfrm>
        </p:spPr>
        <p:txBody>
          <a:bodyPr tIns="864000" anchor="ctr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picture by clicking on the symbol. </a:t>
            </a:r>
            <a:br>
              <a:rPr lang="en-US" dirty="0"/>
            </a:br>
            <a:br>
              <a:rPr lang="en-US" dirty="0"/>
            </a:br>
            <a:r>
              <a:rPr lang="en-US" dirty="0"/>
              <a:t>Alternatively, copy the image to the clipboard,</a:t>
            </a:r>
            <a:br>
              <a:rPr lang="en-US" dirty="0"/>
            </a:br>
            <a:r>
              <a:rPr lang="en-US" dirty="0"/>
              <a:t> select the placeholder and paste the image.</a:t>
            </a:r>
          </a:p>
        </p:txBody>
      </p:sp>
      <p:sp>
        <p:nvSpPr>
          <p:cNvPr id="8" name="Datumsplatzhalter 3">
            <a:extLst>
              <a:ext uri="{FF2B5EF4-FFF2-40B4-BE49-F238E27FC236}">
                <a16:creationId xmlns:a16="http://schemas.microsoft.com/office/drawing/2014/main" id="{B13F734F-93E9-EAAB-2752-52949F413704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black">
          <a:xfrm>
            <a:off x="0" y="6858000"/>
            <a:ext cx="0" cy="0"/>
          </a:xfrm>
          <a:prstGeom prst="rect">
            <a:avLst/>
          </a:prstGeom>
        </p:spPr>
        <p:txBody>
          <a:bodyPr wrap="none">
            <a:normAutofit/>
          </a:bodyPr>
          <a:lstStyle>
            <a:lvl1pPr>
              <a:defRPr>
                <a:noFill/>
              </a:defRPr>
            </a:lvl1pPr>
          </a:lstStyle>
          <a:p>
            <a:fld id="{77F576C9-A806-4C7F-B6B9-EA3D74A2E7CF}" type="datetime3">
              <a:rPr lang="de-DE" smtClean="0"/>
              <a:t>01/07/2025</a:t>
            </a:fld>
            <a:endParaRPr lang="en-US"/>
          </a:p>
        </p:txBody>
      </p:sp>
      <p:sp>
        <p:nvSpPr>
          <p:cNvPr id="12" name="Fußzeilenplatzhalter 4">
            <a:extLst>
              <a:ext uri="{FF2B5EF4-FFF2-40B4-BE49-F238E27FC236}">
                <a16:creationId xmlns:a16="http://schemas.microsoft.com/office/drawing/2014/main" id="{7037DF08-8E92-E882-4AEB-B9E96AA7AA7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black">
          <a:xfrm>
            <a:off x="0" y="6858000"/>
            <a:ext cx="0" cy="0"/>
          </a:xfrm>
        </p:spPr>
        <p:txBody>
          <a:bodyPr wrap="none">
            <a:normAutofit/>
          </a:bodyPr>
          <a:lstStyle>
            <a:lvl1pPr>
              <a:defRPr sz="100">
                <a:noFill/>
              </a:defRPr>
            </a:lvl1pPr>
          </a:lstStyle>
          <a:p>
            <a:r>
              <a:rPr lang="en-US"/>
              <a:t>Name - Title of Presentation</a:t>
            </a:r>
          </a:p>
        </p:txBody>
      </p:sp>
      <p:sp>
        <p:nvSpPr>
          <p:cNvPr id="13" name="Foliennummernplatzhalter 5">
            <a:extLst>
              <a:ext uri="{FF2B5EF4-FFF2-40B4-BE49-F238E27FC236}">
                <a16:creationId xmlns:a16="http://schemas.microsoft.com/office/drawing/2014/main" id="{29264F0A-C45F-9937-0433-4CE92B3ED55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black">
          <a:xfrm>
            <a:off x="0" y="6858000"/>
            <a:ext cx="0" cy="0"/>
          </a:xfrm>
        </p:spPr>
        <p:txBody>
          <a:bodyPr wrap="none">
            <a:normAutofit/>
          </a:bodyPr>
          <a:lstStyle>
            <a:lvl1pPr>
              <a:defRPr sz="100">
                <a:noFill/>
              </a:defRPr>
            </a:lvl1pPr>
          </a:lstStyle>
          <a:p>
            <a:fld id="{776FC98F-84AD-404B-BCCB-49E092AA6DE0}" type="slidenum">
              <a:rPr lang="en-US" smtClean="0"/>
              <a:pPr/>
              <a:t>‹#›</a:t>
            </a:fld>
            <a:endParaRPr lang="en-US"/>
          </a:p>
        </p:txBody>
      </p:sp>
      <p:grpSp>
        <p:nvGrpSpPr>
          <p:cNvPr id="4" name="Gruppieren 8">
            <a:extLst>
              <a:ext uri="{FF2B5EF4-FFF2-40B4-BE49-F238E27FC236}">
                <a16:creationId xmlns:a16="http://schemas.microsoft.com/office/drawing/2014/main" id="{A1532E2A-0AD5-78A6-C7F4-C16B026BA9BB}"/>
              </a:ext>
            </a:extLst>
          </p:cNvPr>
          <p:cNvGrpSpPr>
            <a:grpSpLocks/>
          </p:cNvGrpSpPr>
          <p:nvPr userDrawn="1"/>
        </p:nvGrpSpPr>
        <p:grpSpPr bwMode="gray">
          <a:xfrm>
            <a:off x="10710878" y="368659"/>
            <a:ext cx="861983" cy="309203"/>
            <a:chOff x="11189494" y="381000"/>
            <a:chExt cx="621506" cy="222941"/>
          </a:xfrm>
          <a:solidFill>
            <a:schemeClr val="bg1"/>
          </a:solidFill>
        </p:grpSpPr>
        <p:sp>
          <p:nvSpPr>
            <p:cNvPr id="5" name="Freihandform: Form 9">
              <a:extLst>
                <a:ext uri="{FF2B5EF4-FFF2-40B4-BE49-F238E27FC236}">
                  <a16:creationId xmlns:a16="http://schemas.microsoft.com/office/drawing/2014/main" id="{1126D6D5-2B7D-390E-6320-C8E356BB57B9}"/>
                </a:ext>
              </a:extLst>
            </p:cNvPr>
            <p:cNvSpPr/>
            <p:nvPr/>
          </p:nvSpPr>
          <p:spPr bwMode="gray">
            <a:xfrm>
              <a:off x="11360511" y="381000"/>
              <a:ext cx="450489" cy="222941"/>
            </a:xfrm>
            <a:custGeom>
              <a:avLst/>
              <a:gdLst>
                <a:gd name="connsiteX0" fmla="*/ 303449 w 450489"/>
                <a:gd name="connsiteY0" fmla="*/ 222 h 222941"/>
                <a:gd name="connsiteX1" fmla="*/ 450489 w 450489"/>
                <a:gd name="connsiteY1" fmla="*/ 222 h 222941"/>
                <a:gd name="connsiteX2" fmla="*/ 450489 w 450489"/>
                <a:gd name="connsiteY2" fmla="*/ 50305 h 222941"/>
                <a:gd name="connsiteX3" fmla="*/ 407489 w 450489"/>
                <a:gd name="connsiteY3" fmla="*/ 50305 h 222941"/>
                <a:gd name="connsiteX4" fmla="*/ 407489 w 450489"/>
                <a:gd name="connsiteY4" fmla="*/ 222941 h 222941"/>
                <a:gd name="connsiteX5" fmla="*/ 346449 w 450489"/>
                <a:gd name="connsiteY5" fmla="*/ 222941 h 222941"/>
                <a:gd name="connsiteX6" fmla="*/ 346449 w 450489"/>
                <a:gd name="connsiteY6" fmla="*/ 50305 h 222941"/>
                <a:gd name="connsiteX7" fmla="*/ 303449 w 450489"/>
                <a:gd name="connsiteY7" fmla="*/ 50305 h 222941"/>
                <a:gd name="connsiteX8" fmla="*/ 227770 w 450489"/>
                <a:gd name="connsiteY8" fmla="*/ 222 h 222941"/>
                <a:gd name="connsiteX9" fmla="*/ 288808 w 450489"/>
                <a:gd name="connsiteY9" fmla="*/ 222 h 222941"/>
                <a:gd name="connsiteX10" fmla="*/ 288808 w 450489"/>
                <a:gd name="connsiteY10" fmla="*/ 222719 h 222941"/>
                <a:gd name="connsiteX11" fmla="*/ 227770 w 450489"/>
                <a:gd name="connsiteY11" fmla="*/ 222719 h 222941"/>
                <a:gd name="connsiteX12" fmla="*/ 52591 w 450489"/>
                <a:gd name="connsiteY12" fmla="*/ 222 h 222941"/>
                <a:gd name="connsiteX13" fmla="*/ 54433 w 450489"/>
                <a:gd name="connsiteY13" fmla="*/ 222 h 222941"/>
                <a:gd name="connsiteX14" fmla="*/ 54211 w 450489"/>
                <a:gd name="connsiteY14" fmla="*/ 222719 h 222941"/>
                <a:gd name="connsiteX15" fmla="*/ 54179 w 450489"/>
                <a:gd name="connsiteY15" fmla="*/ 222719 h 222941"/>
                <a:gd name="connsiteX16" fmla="*/ 0 w 450489"/>
                <a:gd name="connsiteY16" fmla="*/ 6637 h 222941"/>
                <a:gd name="connsiteX17" fmla="*/ 52591 w 450489"/>
                <a:gd name="connsiteY17" fmla="*/ 222 h 222941"/>
                <a:gd name="connsiteX18" fmla="*/ 147041 w 450489"/>
                <a:gd name="connsiteY18" fmla="*/ 0 h 222941"/>
                <a:gd name="connsiteX19" fmla="*/ 217003 w 450489"/>
                <a:gd name="connsiteY19" fmla="*/ 0 h 222941"/>
                <a:gd name="connsiteX20" fmla="*/ 126906 w 450489"/>
                <a:gd name="connsiteY20" fmla="*/ 112042 h 222941"/>
                <a:gd name="connsiteX21" fmla="*/ 217448 w 450489"/>
                <a:gd name="connsiteY21" fmla="*/ 222719 h 222941"/>
                <a:gd name="connsiteX22" fmla="*/ 149581 w 450489"/>
                <a:gd name="connsiteY22" fmla="*/ 222719 h 222941"/>
                <a:gd name="connsiteX23" fmla="*/ 68852 w 450489"/>
                <a:gd name="connsiteY23" fmla="*/ 136051 h 222941"/>
                <a:gd name="connsiteX24" fmla="*/ 68852 w 450489"/>
                <a:gd name="connsiteY24" fmla="*/ 86446 h 2229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450489" h="222941">
                  <a:moveTo>
                    <a:pt x="303449" y="222"/>
                  </a:moveTo>
                  <a:lnTo>
                    <a:pt x="450489" y="222"/>
                  </a:lnTo>
                  <a:lnTo>
                    <a:pt x="450489" y="50305"/>
                  </a:lnTo>
                  <a:lnTo>
                    <a:pt x="407489" y="50305"/>
                  </a:lnTo>
                  <a:lnTo>
                    <a:pt x="407489" y="222941"/>
                  </a:lnTo>
                  <a:lnTo>
                    <a:pt x="346449" y="222941"/>
                  </a:lnTo>
                  <a:lnTo>
                    <a:pt x="346449" y="50305"/>
                  </a:lnTo>
                  <a:lnTo>
                    <a:pt x="303449" y="50305"/>
                  </a:lnTo>
                  <a:close/>
                  <a:moveTo>
                    <a:pt x="227770" y="222"/>
                  </a:moveTo>
                  <a:lnTo>
                    <a:pt x="288808" y="222"/>
                  </a:lnTo>
                  <a:lnTo>
                    <a:pt x="288808" y="222719"/>
                  </a:lnTo>
                  <a:lnTo>
                    <a:pt x="227770" y="222719"/>
                  </a:lnTo>
                  <a:close/>
                  <a:moveTo>
                    <a:pt x="52591" y="222"/>
                  </a:moveTo>
                  <a:lnTo>
                    <a:pt x="54433" y="222"/>
                  </a:lnTo>
                  <a:lnTo>
                    <a:pt x="54211" y="222719"/>
                  </a:lnTo>
                  <a:lnTo>
                    <a:pt x="54179" y="222719"/>
                  </a:lnTo>
                  <a:lnTo>
                    <a:pt x="0" y="6637"/>
                  </a:lnTo>
                  <a:cubicBezTo>
                    <a:pt x="16927" y="2509"/>
                    <a:pt x="34521" y="222"/>
                    <a:pt x="52591" y="222"/>
                  </a:cubicBezTo>
                  <a:close/>
                  <a:moveTo>
                    <a:pt x="147041" y="0"/>
                  </a:moveTo>
                  <a:lnTo>
                    <a:pt x="217003" y="0"/>
                  </a:lnTo>
                  <a:lnTo>
                    <a:pt x="126906" y="112042"/>
                  </a:lnTo>
                  <a:lnTo>
                    <a:pt x="217448" y="222719"/>
                  </a:lnTo>
                  <a:lnTo>
                    <a:pt x="149581" y="222719"/>
                  </a:lnTo>
                  <a:lnTo>
                    <a:pt x="68852" y="136051"/>
                  </a:lnTo>
                  <a:lnTo>
                    <a:pt x="68852" y="8644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6" name="Freihandform: Form 10">
              <a:extLst>
                <a:ext uri="{FF2B5EF4-FFF2-40B4-BE49-F238E27FC236}">
                  <a16:creationId xmlns:a16="http://schemas.microsoft.com/office/drawing/2014/main" id="{E48DCF6E-1E81-A530-130D-A40052D29E56}"/>
                </a:ext>
              </a:extLst>
            </p:cNvPr>
            <p:cNvSpPr/>
            <p:nvPr/>
          </p:nvSpPr>
          <p:spPr bwMode="gray">
            <a:xfrm>
              <a:off x="11189494" y="401800"/>
              <a:ext cx="225229" cy="201918"/>
            </a:xfrm>
            <a:custGeom>
              <a:avLst/>
              <a:gdLst>
                <a:gd name="connsiteX0" fmla="*/ 225193 w 225229"/>
                <a:gd name="connsiteY0" fmla="*/ 201842 h 201918"/>
                <a:gd name="connsiteX1" fmla="*/ 225228 w 225229"/>
                <a:gd name="connsiteY1" fmla="*/ 201885 h 201918"/>
                <a:gd name="connsiteX2" fmla="*/ 225228 w 225229"/>
                <a:gd name="connsiteY2" fmla="*/ 201917 h 201918"/>
                <a:gd name="connsiteX3" fmla="*/ 7082 w 225229"/>
                <a:gd name="connsiteY3" fmla="*/ 147485 h 201918"/>
                <a:gd name="connsiteX4" fmla="*/ 225228 w 225229"/>
                <a:gd name="connsiteY4" fmla="*/ 201918 h 201918"/>
                <a:gd name="connsiteX5" fmla="*/ 0 w 225229"/>
                <a:gd name="connsiteY5" fmla="*/ 201918 h 201918"/>
                <a:gd name="connsiteX6" fmla="*/ 7082 w 225229"/>
                <a:gd name="connsiteY6" fmla="*/ 147485 h 201918"/>
                <a:gd name="connsiteX7" fmla="*/ 51226 w 225229"/>
                <a:gd name="connsiteY7" fmla="*/ 60817 h 201918"/>
                <a:gd name="connsiteX8" fmla="*/ 225229 w 225229"/>
                <a:gd name="connsiteY8" fmla="*/ 201918 h 201918"/>
                <a:gd name="connsiteX9" fmla="*/ 21723 w 225229"/>
                <a:gd name="connsiteY9" fmla="*/ 107247 h 201918"/>
                <a:gd name="connsiteX10" fmla="*/ 51226 w 225229"/>
                <a:gd name="connsiteY10" fmla="*/ 60817 h 201918"/>
                <a:gd name="connsiteX11" fmla="*/ 130335 w 225229"/>
                <a:gd name="connsiteY11" fmla="*/ 0 h 201918"/>
                <a:gd name="connsiteX12" fmla="*/ 225193 w 225229"/>
                <a:gd name="connsiteY12" fmla="*/ 201842 h 201918"/>
                <a:gd name="connsiteX13" fmla="*/ 83682 w 225229"/>
                <a:gd name="connsiteY13" fmla="*/ 28805 h 201918"/>
                <a:gd name="connsiteX14" fmla="*/ 130335 w 225229"/>
                <a:gd name="connsiteY14" fmla="*/ 0 h 2019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25229" h="201918">
                  <a:moveTo>
                    <a:pt x="225193" y="201842"/>
                  </a:moveTo>
                  <a:lnTo>
                    <a:pt x="225228" y="201885"/>
                  </a:lnTo>
                  <a:lnTo>
                    <a:pt x="225228" y="201917"/>
                  </a:lnTo>
                  <a:close/>
                  <a:moveTo>
                    <a:pt x="7082" y="147485"/>
                  </a:moveTo>
                  <a:lnTo>
                    <a:pt x="225228" y="201918"/>
                  </a:lnTo>
                  <a:lnTo>
                    <a:pt x="0" y="201918"/>
                  </a:lnTo>
                  <a:cubicBezTo>
                    <a:pt x="222" y="183149"/>
                    <a:pt x="2509" y="164857"/>
                    <a:pt x="7082" y="147485"/>
                  </a:cubicBezTo>
                  <a:close/>
                  <a:moveTo>
                    <a:pt x="51226" y="60817"/>
                  </a:moveTo>
                  <a:lnTo>
                    <a:pt x="225229" y="201918"/>
                  </a:lnTo>
                  <a:lnTo>
                    <a:pt x="21723" y="107247"/>
                  </a:lnTo>
                  <a:cubicBezTo>
                    <a:pt x="29504" y="90543"/>
                    <a:pt x="39571" y="74981"/>
                    <a:pt x="51226" y="60817"/>
                  </a:cubicBezTo>
                  <a:close/>
                  <a:moveTo>
                    <a:pt x="130335" y="0"/>
                  </a:moveTo>
                  <a:lnTo>
                    <a:pt x="225193" y="201842"/>
                  </a:lnTo>
                  <a:lnTo>
                    <a:pt x="83682" y="28805"/>
                  </a:lnTo>
                  <a:cubicBezTo>
                    <a:pt x="97878" y="17372"/>
                    <a:pt x="113408" y="7781"/>
                    <a:pt x="130335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162957435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2x Picture horizontal (M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05B1CE1-6CC9-F59B-4D70-B6BAA153740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71475" y="4041775"/>
            <a:ext cx="5616575" cy="2235198"/>
          </a:xfrm>
        </p:spPr>
        <p:txBody>
          <a:bodyPr tIns="0"/>
          <a:lstStyle/>
          <a:p>
            <a:r>
              <a:rPr lang="en-US" dirty="0"/>
              <a:t>Add Title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7B8292EB-A174-4AF5-E760-21B84099238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203949" y="4041775"/>
            <a:ext cx="5616575" cy="2235199"/>
          </a:xfrm>
        </p:spPr>
        <p:txBody>
          <a:bodyPr/>
          <a:lstStyle/>
          <a:p>
            <a:pPr lvl="0"/>
            <a:r>
              <a:rPr lang="en-US" dirty="0"/>
              <a:t>Add text</a:t>
            </a:r>
          </a:p>
        </p:txBody>
      </p:sp>
      <p:sp>
        <p:nvSpPr>
          <p:cNvPr id="7" name="Bildplatzhalter 15">
            <a:extLst>
              <a:ext uri="{FF2B5EF4-FFF2-40B4-BE49-F238E27FC236}">
                <a16:creationId xmlns:a16="http://schemas.microsoft.com/office/drawing/2014/main" id="{3D7FEBCC-B6B1-D6F4-B8C4-39CAEC3BF559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2" y="-1"/>
            <a:ext cx="6203948" cy="3824289"/>
          </a:xfrm>
        </p:spPr>
        <p:txBody>
          <a:bodyPr tIns="900000" anchor="ctr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00"/>
            </a:lvl1pPr>
          </a:lstStyle>
          <a:p>
            <a:r>
              <a:rPr lang="en-US" dirty="0"/>
              <a:t>Insert picture by clicking on the symbol. </a:t>
            </a:r>
            <a:br>
              <a:rPr lang="en-US" dirty="0"/>
            </a:br>
            <a:br>
              <a:rPr lang="en-US" dirty="0"/>
            </a:br>
            <a:r>
              <a:rPr lang="en-US" dirty="0"/>
              <a:t>Alternatively, copy the image to the clipboard,</a:t>
            </a:r>
            <a:br>
              <a:rPr lang="en-US" dirty="0"/>
            </a:br>
            <a:r>
              <a:rPr lang="en-US" dirty="0"/>
              <a:t> select the placeholder and paste the image.</a:t>
            </a:r>
          </a:p>
        </p:txBody>
      </p:sp>
      <p:sp>
        <p:nvSpPr>
          <p:cNvPr id="3" name="Bildplatzhalter 15">
            <a:extLst>
              <a:ext uri="{FF2B5EF4-FFF2-40B4-BE49-F238E27FC236}">
                <a16:creationId xmlns:a16="http://schemas.microsoft.com/office/drawing/2014/main" id="{CD8BE5C1-5277-9F0D-214B-6BE9AC8AC9F3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6203950" y="-1"/>
            <a:ext cx="5988050" cy="3824289"/>
          </a:xfrm>
        </p:spPr>
        <p:txBody>
          <a:bodyPr tIns="900000" anchor="ctr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00"/>
            </a:lvl1pPr>
          </a:lstStyle>
          <a:p>
            <a:r>
              <a:rPr lang="en-US" dirty="0"/>
              <a:t>Insert picture by clicking on the symbol. </a:t>
            </a:r>
            <a:br>
              <a:rPr lang="en-US" dirty="0"/>
            </a:br>
            <a:br>
              <a:rPr lang="en-US" dirty="0"/>
            </a:br>
            <a:r>
              <a:rPr lang="en-US" dirty="0"/>
              <a:t>Alternatively, copy the image to the clipboard,</a:t>
            </a:r>
            <a:br>
              <a:rPr lang="en-US" dirty="0"/>
            </a:br>
            <a:r>
              <a:rPr lang="en-US" dirty="0"/>
              <a:t> select the placeholder and paste the image.</a:t>
            </a:r>
          </a:p>
        </p:txBody>
      </p:sp>
      <p:sp>
        <p:nvSpPr>
          <p:cNvPr id="9" name="Datumsplatzhalter 8">
            <a:extLst>
              <a:ext uri="{FF2B5EF4-FFF2-40B4-BE49-F238E27FC236}">
                <a16:creationId xmlns:a16="http://schemas.microsoft.com/office/drawing/2014/main" id="{E289A028-6BAD-57D6-0C99-2E2EE8D2385C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fld id="{AAAFA2D4-8F12-48A5-9C4C-5C067A6FB1C7}" type="datetime3">
              <a:rPr lang="de-DE" smtClean="0"/>
              <a:t>01/07/2025</a:t>
            </a:fld>
            <a:endParaRPr lang="en-US" dirty="0"/>
          </a:p>
        </p:txBody>
      </p:sp>
      <p:sp>
        <p:nvSpPr>
          <p:cNvPr id="10" name="Fußzeilenplatzhalter 9">
            <a:extLst>
              <a:ext uri="{FF2B5EF4-FFF2-40B4-BE49-F238E27FC236}">
                <a16:creationId xmlns:a16="http://schemas.microsoft.com/office/drawing/2014/main" id="{FF70BBC8-26C8-72F5-7017-C4E9ADC51106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en-US"/>
              <a:t>Name - Title of Presentation</a:t>
            </a:r>
            <a:endParaRPr lang="en-US" dirty="0"/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14220114-93CE-7986-FBD4-6B87CC84D154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776FC98F-84AD-404B-BCCB-49E092AA6DE0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48615363"/>
      </p:ext>
    </p:extLst>
  </p:cSld>
  <p:clrMapOvr>
    <a:masterClrMapping/>
  </p:clrMapOvr>
  <p:transition>
    <p:fade/>
  </p:transition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3x Picture horizontal (M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05B1CE1-6CC9-F59B-4D70-B6BAA153740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71475" y="4041775"/>
            <a:ext cx="5616575" cy="2235198"/>
          </a:xfrm>
        </p:spPr>
        <p:txBody>
          <a:bodyPr tIns="0"/>
          <a:lstStyle/>
          <a:p>
            <a:r>
              <a:rPr lang="en-US" dirty="0"/>
              <a:t>Add Title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7B8292EB-A174-4AF5-E760-21B84099238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8148638" y="4041775"/>
            <a:ext cx="3671886" cy="2235199"/>
          </a:xfrm>
        </p:spPr>
        <p:txBody>
          <a:bodyPr/>
          <a:lstStyle/>
          <a:p>
            <a:pPr lvl="0"/>
            <a:r>
              <a:rPr lang="en-US" dirty="0"/>
              <a:t>Add text</a:t>
            </a:r>
          </a:p>
        </p:txBody>
      </p:sp>
      <p:sp>
        <p:nvSpPr>
          <p:cNvPr id="7" name="Bildplatzhalter 15">
            <a:extLst>
              <a:ext uri="{FF2B5EF4-FFF2-40B4-BE49-F238E27FC236}">
                <a16:creationId xmlns:a16="http://schemas.microsoft.com/office/drawing/2014/main" id="{3D7FEBCC-B6B1-D6F4-B8C4-39CAEC3BF559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2" y="-1"/>
            <a:ext cx="4259261" cy="3824289"/>
          </a:xfrm>
        </p:spPr>
        <p:txBody>
          <a:bodyPr tIns="900000" anchor="ctr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00"/>
            </a:lvl1pPr>
          </a:lstStyle>
          <a:p>
            <a:r>
              <a:rPr lang="en-US" dirty="0"/>
              <a:t>Insert picture by clicking on the symbol. </a:t>
            </a:r>
            <a:br>
              <a:rPr lang="en-US" dirty="0"/>
            </a:br>
            <a:br>
              <a:rPr lang="en-US" dirty="0"/>
            </a:br>
            <a:r>
              <a:rPr lang="en-US" dirty="0"/>
              <a:t>Alternatively, copy the image to the clipboard,</a:t>
            </a:r>
            <a:br>
              <a:rPr lang="en-US" dirty="0"/>
            </a:br>
            <a:r>
              <a:rPr lang="en-US" dirty="0"/>
              <a:t> select the placeholder and paste the image.</a:t>
            </a:r>
          </a:p>
        </p:txBody>
      </p:sp>
      <p:sp>
        <p:nvSpPr>
          <p:cNvPr id="3" name="Bildplatzhalter 15">
            <a:extLst>
              <a:ext uri="{FF2B5EF4-FFF2-40B4-BE49-F238E27FC236}">
                <a16:creationId xmlns:a16="http://schemas.microsoft.com/office/drawing/2014/main" id="{CD8BE5C1-5277-9F0D-214B-6BE9AC8AC9F3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4259263" y="-1"/>
            <a:ext cx="3889375" cy="3824289"/>
          </a:xfrm>
        </p:spPr>
        <p:txBody>
          <a:bodyPr tIns="900000" anchor="ctr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00"/>
            </a:lvl1pPr>
          </a:lstStyle>
          <a:p>
            <a:r>
              <a:rPr lang="en-US" dirty="0"/>
              <a:t>Insert picture by clicking on the symbol. </a:t>
            </a:r>
            <a:br>
              <a:rPr lang="en-US" dirty="0"/>
            </a:br>
            <a:br>
              <a:rPr lang="en-US" dirty="0"/>
            </a:br>
            <a:r>
              <a:rPr lang="en-US" dirty="0"/>
              <a:t>Alternatively, copy the image to the clipboard,</a:t>
            </a:r>
            <a:br>
              <a:rPr lang="en-US" dirty="0"/>
            </a:br>
            <a:r>
              <a:rPr lang="en-US" dirty="0"/>
              <a:t> select the placeholder and paste the image.</a:t>
            </a:r>
          </a:p>
        </p:txBody>
      </p:sp>
      <p:sp>
        <p:nvSpPr>
          <p:cNvPr id="4" name="Bildplatzhalter 15">
            <a:extLst>
              <a:ext uri="{FF2B5EF4-FFF2-40B4-BE49-F238E27FC236}">
                <a16:creationId xmlns:a16="http://schemas.microsoft.com/office/drawing/2014/main" id="{B0C0D4B8-0642-DA51-02B4-CD518D792A13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 bwMode="gray">
          <a:xfrm>
            <a:off x="8148638" y="-1"/>
            <a:ext cx="4043360" cy="3824289"/>
          </a:xfrm>
        </p:spPr>
        <p:txBody>
          <a:bodyPr tIns="900000" anchor="ctr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00"/>
            </a:lvl1pPr>
          </a:lstStyle>
          <a:p>
            <a:r>
              <a:rPr lang="en-US" dirty="0"/>
              <a:t>Insert picture by clicking on the symbol. </a:t>
            </a:r>
            <a:br>
              <a:rPr lang="en-US" dirty="0"/>
            </a:br>
            <a:br>
              <a:rPr lang="en-US" dirty="0"/>
            </a:br>
            <a:r>
              <a:rPr lang="en-US" dirty="0"/>
              <a:t>Alternatively, copy the image to the clipboard,</a:t>
            </a:r>
            <a:br>
              <a:rPr lang="en-US" dirty="0"/>
            </a:br>
            <a:r>
              <a:rPr lang="en-US" dirty="0"/>
              <a:t> select the placeholder and paste the image.</a:t>
            </a:r>
          </a:p>
        </p:txBody>
      </p:sp>
      <p:sp>
        <p:nvSpPr>
          <p:cNvPr id="10" name="Datumsplatzhalter 9">
            <a:extLst>
              <a:ext uri="{FF2B5EF4-FFF2-40B4-BE49-F238E27FC236}">
                <a16:creationId xmlns:a16="http://schemas.microsoft.com/office/drawing/2014/main" id="{94F7FD17-6F08-455B-89F3-014E426ED5A9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F05F5BBC-28CC-4050-BF5E-4967D5CE53B0}" type="datetime3">
              <a:rPr lang="de-DE" smtClean="0"/>
              <a:t>01/07/2025</a:t>
            </a:fld>
            <a:endParaRPr lang="en-US" dirty="0"/>
          </a:p>
        </p:txBody>
      </p:sp>
      <p:sp>
        <p:nvSpPr>
          <p:cNvPr id="11" name="Fußzeilenplatzhalter 10">
            <a:extLst>
              <a:ext uri="{FF2B5EF4-FFF2-40B4-BE49-F238E27FC236}">
                <a16:creationId xmlns:a16="http://schemas.microsoft.com/office/drawing/2014/main" id="{295BB98B-CA7B-1291-9702-334ACEEE83D2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Name - Title of Presentation</a:t>
            </a:r>
            <a:endParaRPr lang="en-US" dirty="0"/>
          </a:p>
        </p:txBody>
      </p:sp>
      <p:sp>
        <p:nvSpPr>
          <p:cNvPr id="12" name="Foliennummernplatzhalter 11">
            <a:extLst>
              <a:ext uri="{FF2B5EF4-FFF2-40B4-BE49-F238E27FC236}">
                <a16:creationId xmlns:a16="http://schemas.microsoft.com/office/drawing/2014/main" id="{49F8E6D6-952F-6259-CB3F-D9FD0CF614AC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776FC98F-84AD-404B-BCCB-49E092AA6DE0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36456137"/>
      </p:ext>
    </p:extLst>
  </p:cSld>
  <p:clrMapOvr>
    <a:masterClrMapping/>
  </p:clrMapOvr>
  <p:transition>
    <p:fade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Picture horizontal (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05B1CE1-6CC9-F59B-4D70-B6BAA153740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71475" y="5265737"/>
            <a:ext cx="5616575" cy="1011236"/>
          </a:xfrm>
        </p:spPr>
        <p:txBody>
          <a:bodyPr tIns="0"/>
          <a:lstStyle/>
          <a:p>
            <a:r>
              <a:rPr lang="en-US" dirty="0"/>
              <a:t>Add Title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7B8292EB-A174-4AF5-E760-21B84099238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203949" y="5265738"/>
            <a:ext cx="5616575" cy="1011236"/>
          </a:xfrm>
        </p:spPr>
        <p:txBody>
          <a:bodyPr/>
          <a:lstStyle/>
          <a:p>
            <a:pPr lvl="0"/>
            <a:r>
              <a:rPr lang="en-US" dirty="0"/>
              <a:t>Add text</a:t>
            </a:r>
          </a:p>
        </p:txBody>
      </p:sp>
      <p:sp>
        <p:nvSpPr>
          <p:cNvPr id="7" name="Bildplatzhalter 15">
            <a:extLst>
              <a:ext uri="{FF2B5EF4-FFF2-40B4-BE49-F238E27FC236}">
                <a16:creationId xmlns:a16="http://schemas.microsoft.com/office/drawing/2014/main" id="{3D7FEBCC-B6B1-D6F4-B8C4-39CAEC3BF559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1" y="-1"/>
            <a:ext cx="12191999" cy="5049839"/>
          </a:xfrm>
        </p:spPr>
        <p:txBody>
          <a:bodyPr tIns="900000" anchor="ctr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00"/>
            </a:lvl1pPr>
          </a:lstStyle>
          <a:p>
            <a:r>
              <a:rPr lang="en-US" dirty="0"/>
              <a:t>Insert picture by clicking on the symbol. </a:t>
            </a:r>
            <a:br>
              <a:rPr lang="en-US" dirty="0"/>
            </a:br>
            <a:br>
              <a:rPr lang="en-US" dirty="0"/>
            </a:br>
            <a:r>
              <a:rPr lang="en-US" dirty="0"/>
              <a:t>Alternatively, copy the image to the clipboard,</a:t>
            </a:r>
            <a:br>
              <a:rPr lang="en-US" dirty="0"/>
            </a:br>
            <a:r>
              <a:rPr lang="en-US" dirty="0"/>
              <a:t> select the placeholder and paste the image.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1C3AEDD-A574-4DAF-D1EC-A27C2292DE65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530DF684-D653-4284-9B2A-B6BEF39FCA93}" type="datetime3">
              <a:rPr lang="de-DE" smtClean="0"/>
              <a:t>01/07/2025</a:t>
            </a:fld>
            <a:endParaRPr lang="en-US" dirty="0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CF58EBD7-6711-442F-F11B-AEE90C03C903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US"/>
              <a:t>Name - Title of Presentation</a:t>
            </a:r>
            <a:endParaRPr lang="en-US" dirty="0"/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88F5ADB7-1DE3-CF4C-2772-4A7CBBB483EE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776FC98F-84AD-404B-BCCB-49E092AA6DE0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97548939"/>
      </p:ext>
    </p:extLst>
  </p:cSld>
  <p:clrMapOvr>
    <a:masterClrMapping/>
  </p:clrMapOvr>
  <p:transition>
    <p:fade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2x Picture horizontal (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05B1CE1-6CC9-F59B-4D70-B6BAA153740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71475" y="5265737"/>
            <a:ext cx="5616575" cy="1011236"/>
          </a:xfrm>
        </p:spPr>
        <p:txBody>
          <a:bodyPr tIns="0"/>
          <a:lstStyle/>
          <a:p>
            <a:r>
              <a:rPr lang="en-US" dirty="0"/>
              <a:t>Add Title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7B8292EB-A174-4AF5-E760-21B84099238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203949" y="5265738"/>
            <a:ext cx="5616575" cy="1011236"/>
          </a:xfrm>
        </p:spPr>
        <p:txBody>
          <a:bodyPr/>
          <a:lstStyle/>
          <a:p>
            <a:pPr lvl="0"/>
            <a:r>
              <a:rPr lang="en-US" dirty="0"/>
              <a:t>Add text</a:t>
            </a:r>
          </a:p>
        </p:txBody>
      </p:sp>
      <p:sp>
        <p:nvSpPr>
          <p:cNvPr id="3" name="Bildplatzhalter 15">
            <a:extLst>
              <a:ext uri="{FF2B5EF4-FFF2-40B4-BE49-F238E27FC236}">
                <a16:creationId xmlns:a16="http://schemas.microsoft.com/office/drawing/2014/main" id="{08F79B48-DA81-CB7D-4184-C12044C47126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2" y="-1"/>
            <a:ext cx="6203948" cy="5049839"/>
          </a:xfrm>
        </p:spPr>
        <p:txBody>
          <a:bodyPr tIns="900000" anchor="ctr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00"/>
            </a:lvl1pPr>
          </a:lstStyle>
          <a:p>
            <a:r>
              <a:rPr lang="en-US" dirty="0"/>
              <a:t>Insert picture by clicking on the symbol. </a:t>
            </a:r>
            <a:br>
              <a:rPr lang="en-US" dirty="0"/>
            </a:br>
            <a:br>
              <a:rPr lang="en-US" dirty="0"/>
            </a:br>
            <a:r>
              <a:rPr lang="en-US" dirty="0"/>
              <a:t>Alternatively, copy the image to the clipboard,</a:t>
            </a:r>
            <a:br>
              <a:rPr lang="en-US" dirty="0"/>
            </a:br>
            <a:r>
              <a:rPr lang="en-US" dirty="0"/>
              <a:t> select the placeholder and paste the image.</a:t>
            </a:r>
          </a:p>
        </p:txBody>
      </p:sp>
      <p:sp>
        <p:nvSpPr>
          <p:cNvPr id="4" name="Bildplatzhalter 15">
            <a:extLst>
              <a:ext uri="{FF2B5EF4-FFF2-40B4-BE49-F238E27FC236}">
                <a16:creationId xmlns:a16="http://schemas.microsoft.com/office/drawing/2014/main" id="{73DB8F0C-439C-6E68-E1D6-2CD9C93ACEFE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6203950" y="-1"/>
            <a:ext cx="5988049" cy="5049839"/>
          </a:xfrm>
        </p:spPr>
        <p:txBody>
          <a:bodyPr tIns="900000" anchor="ctr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00"/>
            </a:lvl1pPr>
          </a:lstStyle>
          <a:p>
            <a:r>
              <a:rPr lang="en-US" dirty="0"/>
              <a:t>Insert picture by clicking on the symbol. </a:t>
            </a:r>
            <a:br>
              <a:rPr lang="en-US" dirty="0"/>
            </a:br>
            <a:br>
              <a:rPr lang="en-US" dirty="0"/>
            </a:br>
            <a:r>
              <a:rPr lang="en-US" dirty="0"/>
              <a:t>Alternatively, copy the image to the clipboard,</a:t>
            </a:r>
            <a:br>
              <a:rPr lang="en-US" dirty="0"/>
            </a:br>
            <a:r>
              <a:rPr lang="en-US" dirty="0"/>
              <a:t> select the placeholder and paste the image.</a:t>
            </a:r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CC26F2CC-FD06-0D05-F9BC-EA3577B02BAF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fld id="{8CA8C0BB-3264-405F-A625-AE19452CEBE3}" type="datetime3">
              <a:rPr lang="de-DE" smtClean="0"/>
              <a:t>01/07/2025</a:t>
            </a:fld>
            <a:endParaRPr lang="en-US" dirty="0"/>
          </a:p>
        </p:txBody>
      </p:sp>
      <p:sp>
        <p:nvSpPr>
          <p:cNvPr id="10" name="Fußzeilenplatzhalter 9">
            <a:extLst>
              <a:ext uri="{FF2B5EF4-FFF2-40B4-BE49-F238E27FC236}">
                <a16:creationId xmlns:a16="http://schemas.microsoft.com/office/drawing/2014/main" id="{4B56F4D1-3BED-CF11-4CA9-195A2857302A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en-US"/>
              <a:t>Name - Title of Presentation</a:t>
            </a:r>
            <a:endParaRPr lang="en-US" dirty="0"/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682BB5B3-0CF3-C297-3B12-70918709FF86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776FC98F-84AD-404B-BCCB-49E092AA6DE0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81338502"/>
      </p:ext>
    </p:extLst>
  </p:cSld>
  <p:clrMapOvr>
    <a:masterClrMapping/>
  </p:clrMapOvr>
  <p:transition>
    <p:fade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3x Picture horizontal (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05B1CE1-6CC9-F59B-4D70-B6BAA153740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71475" y="5265737"/>
            <a:ext cx="5616575" cy="1011236"/>
          </a:xfrm>
        </p:spPr>
        <p:txBody>
          <a:bodyPr tIns="0"/>
          <a:lstStyle/>
          <a:p>
            <a:r>
              <a:rPr lang="en-US" dirty="0"/>
              <a:t>Add Title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7B8292EB-A174-4AF5-E760-21B84099238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8148638" y="5265738"/>
            <a:ext cx="3671886" cy="1011236"/>
          </a:xfrm>
        </p:spPr>
        <p:txBody>
          <a:bodyPr/>
          <a:lstStyle/>
          <a:p>
            <a:pPr lvl="0"/>
            <a:r>
              <a:rPr lang="en-US" dirty="0"/>
              <a:t>Add text</a:t>
            </a:r>
          </a:p>
        </p:txBody>
      </p:sp>
      <p:sp>
        <p:nvSpPr>
          <p:cNvPr id="3" name="Bildplatzhalter 15">
            <a:extLst>
              <a:ext uri="{FF2B5EF4-FFF2-40B4-BE49-F238E27FC236}">
                <a16:creationId xmlns:a16="http://schemas.microsoft.com/office/drawing/2014/main" id="{D81F5719-88F7-8122-30E7-C4EDDE47BEB0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1" y="0"/>
            <a:ext cx="4259262" cy="5049838"/>
          </a:xfrm>
        </p:spPr>
        <p:txBody>
          <a:bodyPr tIns="900000" anchor="ctr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00"/>
            </a:lvl1pPr>
          </a:lstStyle>
          <a:p>
            <a:r>
              <a:rPr lang="en-US" dirty="0"/>
              <a:t>Insert picture by clicking on the symbol. </a:t>
            </a:r>
            <a:br>
              <a:rPr lang="en-US" dirty="0"/>
            </a:br>
            <a:br>
              <a:rPr lang="en-US" dirty="0"/>
            </a:br>
            <a:r>
              <a:rPr lang="en-US" dirty="0"/>
              <a:t>Alternatively, copy the image to the clipboard,</a:t>
            </a:r>
            <a:br>
              <a:rPr lang="en-US" dirty="0"/>
            </a:br>
            <a:r>
              <a:rPr lang="en-US" dirty="0"/>
              <a:t> select the placeholder and paste the image.</a:t>
            </a:r>
          </a:p>
        </p:txBody>
      </p:sp>
      <p:sp>
        <p:nvSpPr>
          <p:cNvPr id="4" name="Bildplatzhalter 15">
            <a:extLst>
              <a:ext uri="{FF2B5EF4-FFF2-40B4-BE49-F238E27FC236}">
                <a16:creationId xmlns:a16="http://schemas.microsoft.com/office/drawing/2014/main" id="{DF833069-8A51-2788-517E-244A50E9A0E2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4259263" y="0"/>
            <a:ext cx="3889375" cy="5049838"/>
          </a:xfrm>
        </p:spPr>
        <p:txBody>
          <a:bodyPr tIns="900000" anchor="ctr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00"/>
            </a:lvl1pPr>
          </a:lstStyle>
          <a:p>
            <a:r>
              <a:rPr lang="en-US" dirty="0"/>
              <a:t>Insert picture by clicking on the symbol. </a:t>
            </a:r>
            <a:br>
              <a:rPr lang="en-US" dirty="0"/>
            </a:br>
            <a:br>
              <a:rPr lang="en-US" dirty="0"/>
            </a:br>
            <a:r>
              <a:rPr lang="en-US" dirty="0"/>
              <a:t>Alternatively, copy the image to the clipboard,</a:t>
            </a:r>
            <a:br>
              <a:rPr lang="en-US" dirty="0"/>
            </a:br>
            <a:r>
              <a:rPr lang="en-US" dirty="0"/>
              <a:t> select the placeholder and paste the image.</a:t>
            </a:r>
          </a:p>
        </p:txBody>
      </p:sp>
      <p:sp>
        <p:nvSpPr>
          <p:cNvPr id="12" name="Bildplatzhalter 15">
            <a:extLst>
              <a:ext uri="{FF2B5EF4-FFF2-40B4-BE49-F238E27FC236}">
                <a16:creationId xmlns:a16="http://schemas.microsoft.com/office/drawing/2014/main" id="{8FBD7F7D-0AAE-6C8E-E25F-AD0146EE9DCE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 bwMode="gray">
          <a:xfrm>
            <a:off x="8148638" y="0"/>
            <a:ext cx="4043362" cy="5049838"/>
          </a:xfrm>
        </p:spPr>
        <p:txBody>
          <a:bodyPr tIns="900000" anchor="ctr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00"/>
            </a:lvl1pPr>
          </a:lstStyle>
          <a:p>
            <a:r>
              <a:rPr lang="en-US" dirty="0"/>
              <a:t>Insert picture by clicking on the symbol. </a:t>
            </a:r>
            <a:br>
              <a:rPr lang="en-US" dirty="0"/>
            </a:br>
            <a:br>
              <a:rPr lang="en-US" dirty="0"/>
            </a:br>
            <a:r>
              <a:rPr lang="en-US" dirty="0"/>
              <a:t>Alternatively, copy the image to the clipboard,</a:t>
            </a:r>
            <a:br>
              <a:rPr lang="en-US" dirty="0"/>
            </a:br>
            <a:r>
              <a:rPr lang="en-US" dirty="0"/>
              <a:t> select the placeholder and paste the image.</a:t>
            </a:r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ECC866A8-34DE-9962-F35F-CD5302351129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fld id="{C9C43FA7-110C-4244-94EF-769FE900A0F7}" type="datetime3">
              <a:rPr lang="de-DE" smtClean="0"/>
              <a:t>01/07/2025</a:t>
            </a:fld>
            <a:endParaRPr lang="en-US" dirty="0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CD73AD41-5895-7F97-5F11-9EE28D617619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Name - Title of Presentation</a:t>
            </a:r>
            <a:endParaRPr lang="en-US" dirty="0"/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AC39AA92-697F-9C87-7391-FD2148F379B1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776FC98F-84AD-404B-BCCB-49E092AA6DE0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12039744"/>
      </p:ext>
    </p:extLst>
  </p:cSld>
  <p:clrMapOvr>
    <a:masterClrMapping/>
  </p:clrMapOvr>
  <p:transition>
    <p:fade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4x Picture horizontal (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05B1CE1-6CC9-F59B-4D70-B6BAA153740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71475" y="5265737"/>
            <a:ext cx="5616575" cy="1011236"/>
          </a:xfrm>
        </p:spPr>
        <p:txBody>
          <a:bodyPr tIns="0"/>
          <a:lstStyle/>
          <a:p>
            <a:r>
              <a:rPr lang="en-US" dirty="0"/>
              <a:t>Add Title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7B8292EB-A174-4AF5-E760-21B84099238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8148638" y="5265738"/>
            <a:ext cx="3671886" cy="1008062"/>
          </a:xfrm>
        </p:spPr>
        <p:txBody>
          <a:bodyPr/>
          <a:lstStyle/>
          <a:p>
            <a:pPr lvl="0"/>
            <a:r>
              <a:rPr lang="en-US" dirty="0"/>
              <a:t>Add text</a:t>
            </a:r>
          </a:p>
        </p:txBody>
      </p:sp>
      <p:sp>
        <p:nvSpPr>
          <p:cNvPr id="11" name="Bildplatzhalter 15">
            <a:extLst>
              <a:ext uri="{FF2B5EF4-FFF2-40B4-BE49-F238E27FC236}">
                <a16:creationId xmlns:a16="http://schemas.microsoft.com/office/drawing/2014/main" id="{57221ED0-08B5-804A-A5D3-858C1FBF65E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1" y="0"/>
            <a:ext cx="4259262" cy="2528900"/>
          </a:xfrm>
        </p:spPr>
        <p:txBody>
          <a:bodyPr tIns="900000" anchor="ctr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00"/>
            </a:lvl1pPr>
          </a:lstStyle>
          <a:p>
            <a:r>
              <a:rPr lang="en-US" dirty="0"/>
              <a:t>Insert picture by clicking on the symbol. </a:t>
            </a:r>
            <a:br>
              <a:rPr lang="en-US" dirty="0"/>
            </a:br>
            <a:br>
              <a:rPr lang="en-US" dirty="0"/>
            </a:br>
            <a:r>
              <a:rPr lang="en-US" dirty="0"/>
              <a:t>Alternatively, copy the image to the clipboard,</a:t>
            </a:r>
            <a:br>
              <a:rPr lang="en-US" dirty="0"/>
            </a:br>
            <a:r>
              <a:rPr lang="en-US" dirty="0"/>
              <a:t> select the placeholder and paste the image.</a:t>
            </a:r>
          </a:p>
        </p:txBody>
      </p:sp>
      <p:sp>
        <p:nvSpPr>
          <p:cNvPr id="12" name="Bildplatzhalter 15">
            <a:extLst>
              <a:ext uri="{FF2B5EF4-FFF2-40B4-BE49-F238E27FC236}">
                <a16:creationId xmlns:a16="http://schemas.microsoft.com/office/drawing/2014/main" id="{2C1B9B64-2441-8357-F153-985A05DAB7A6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4259263" y="0"/>
            <a:ext cx="3889375" cy="5049838"/>
          </a:xfrm>
        </p:spPr>
        <p:txBody>
          <a:bodyPr tIns="900000" anchor="ctr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00"/>
            </a:lvl1pPr>
          </a:lstStyle>
          <a:p>
            <a:r>
              <a:rPr lang="en-US" dirty="0"/>
              <a:t>Insert picture by clicking on the symbol. </a:t>
            </a:r>
            <a:br>
              <a:rPr lang="en-US" dirty="0"/>
            </a:br>
            <a:br>
              <a:rPr lang="en-US" dirty="0"/>
            </a:br>
            <a:r>
              <a:rPr lang="en-US" dirty="0"/>
              <a:t>Alternatively, copy the image to the clipboard,</a:t>
            </a:r>
            <a:br>
              <a:rPr lang="en-US" dirty="0"/>
            </a:br>
            <a:r>
              <a:rPr lang="en-US" dirty="0"/>
              <a:t> select the placeholder and paste the image.</a:t>
            </a:r>
          </a:p>
        </p:txBody>
      </p:sp>
      <p:sp>
        <p:nvSpPr>
          <p:cNvPr id="13" name="Bildplatzhalter 15">
            <a:extLst>
              <a:ext uri="{FF2B5EF4-FFF2-40B4-BE49-F238E27FC236}">
                <a16:creationId xmlns:a16="http://schemas.microsoft.com/office/drawing/2014/main" id="{3B17586A-9CCE-8295-2F97-E528DD0C3C8E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 bwMode="gray">
          <a:xfrm>
            <a:off x="8148638" y="0"/>
            <a:ext cx="4043362" cy="5049838"/>
          </a:xfrm>
        </p:spPr>
        <p:txBody>
          <a:bodyPr tIns="900000" anchor="ctr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00"/>
            </a:lvl1pPr>
          </a:lstStyle>
          <a:p>
            <a:r>
              <a:rPr lang="en-US" dirty="0"/>
              <a:t>Insert picture by clicking on the symbol. </a:t>
            </a:r>
            <a:br>
              <a:rPr lang="en-US" dirty="0"/>
            </a:br>
            <a:br>
              <a:rPr lang="en-US" dirty="0"/>
            </a:br>
            <a:r>
              <a:rPr lang="en-US" dirty="0"/>
              <a:t>Alternatively, copy the image to the clipboard,</a:t>
            </a:r>
            <a:br>
              <a:rPr lang="en-US" dirty="0"/>
            </a:br>
            <a:r>
              <a:rPr lang="en-US" dirty="0"/>
              <a:t> select the placeholder and paste the image.</a:t>
            </a:r>
          </a:p>
        </p:txBody>
      </p:sp>
      <p:sp>
        <p:nvSpPr>
          <p:cNvPr id="14" name="Bildplatzhalter 15">
            <a:extLst>
              <a:ext uri="{FF2B5EF4-FFF2-40B4-BE49-F238E27FC236}">
                <a16:creationId xmlns:a16="http://schemas.microsoft.com/office/drawing/2014/main" id="{0C7BBDAF-B20D-60D9-3199-BC0FA5A0FEA8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 bwMode="gray">
          <a:xfrm>
            <a:off x="-1" y="2528900"/>
            <a:ext cx="4259263" cy="2520938"/>
          </a:xfrm>
        </p:spPr>
        <p:txBody>
          <a:bodyPr tIns="900000" anchor="ctr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00"/>
            </a:lvl1pPr>
          </a:lstStyle>
          <a:p>
            <a:r>
              <a:rPr lang="en-US" dirty="0"/>
              <a:t>Insert picture by clicking on the symbol. </a:t>
            </a:r>
            <a:br>
              <a:rPr lang="en-US" dirty="0"/>
            </a:br>
            <a:br>
              <a:rPr lang="en-US" dirty="0"/>
            </a:br>
            <a:r>
              <a:rPr lang="en-US" dirty="0"/>
              <a:t>Alternatively, copy the image to the clipboard,</a:t>
            </a:r>
            <a:br>
              <a:rPr lang="en-US" dirty="0"/>
            </a:br>
            <a:r>
              <a:rPr lang="en-US" dirty="0"/>
              <a:t> select the placeholder and paste the image.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E3B07C1E-75AF-D661-9B0E-FB6406930C72}"/>
              </a:ext>
            </a:extLst>
          </p:cNvPr>
          <p:cNvSpPr>
            <a:spLocks noGrp="1"/>
          </p:cNvSpPr>
          <p:nvPr>
            <p:ph type="dt" sz="half" idx="21"/>
          </p:nvPr>
        </p:nvSpPr>
        <p:spPr/>
        <p:txBody>
          <a:bodyPr/>
          <a:lstStyle/>
          <a:p>
            <a:fld id="{64AE00C4-099E-4A6A-984A-6CC0B5D80B80}" type="datetime3">
              <a:rPr lang="de-DE" smtClean="0"/>
              <a:t>01/07/2025</a:t>
            </a:fld>
            <a:endParaRPr lang="en-US" dirty="0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6F2A8345-FC50-948A-F811-0B4575026B2F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/>
        <p:txBody>
          <a:bodyPr/>
          <a:lstStyle/>
          <a:p>
            <a:r>
              <a:rPr lang="en-US"/>
              <a:t>Name - Title of Presentation</a:t>
            </a:r>
            <a:endParaRPr lang="en-US" dirty="0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F9AA0923-C682-650B-E243-7EC5A1EB5715}"/>
              </a:ext>
            </a:extLst>
          </p:cNvPr>
          <p:cNvSpPr>
            <a:spLocks noGrp="1"/>
          </p:cNvSpPr>
          <p:nvPr>
            <p:ph type="sldNum" sz="quarter" idx="23"/>
          </p:nvPr>
        </p:nvSpPr>
        <p:spPr/>
        <p:txBody>
          <a:bodyPr/>
          <a:lstStyle/>
          <a:p>
            <a:fld id="{776FC98F-84AD-404B-BCCB-49E092AA6DE0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0123684"/>
      </p:ext>
    </p:extLst>
  </p:cSld>
  <p:clrMapOvr>
    <a:masterClrMapping/>
  </p:clrMapOvr>
  <p:transition>
    <p:fade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5x Picture horizontal (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05B1CE1-6CC9-F59B-4D70-B6BAA153740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71475" y="5265737"/>
            <a:ext cx="5616575" cy="1011236"/>
          </a:xfrm>
        </p:spPr>
        <p:txBody>
          <a:bodyPr tIns="0"/>
          <a:lstStyle/>
          <a:p>
            <a:r>
              <a:rPr lang="en-US" dirty="0"/>
              <a:t>Add Title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7B8292EB-A174-4AF5-E760-21B84099238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8148638" y="5265738"/>
            <a:ext cx="3671886" cy="1008062"/>
          </a:xfrm>
        </p:spPr>
        <p:txBody>
          <a:bodyPr/>
          <a:lstStyle/>
          <a:p>
            <a:pPr lvl="0"/>
            <a:r>
              <a:rPr lang="en-US" dirty="0"/>
              <a:t>Add text</a:t>
            </a:r>
          </a:p>
        </p:txBody>
      </p:sp>
      <p:sp>
        <p:nvSpPr>
          <p:cNvPr id="3" name="Bildplatzhalter 15">
            <a:extLst>
              <a:ext uri="{FF2B5EF4-FFF2-40B4-BE49-F238E27FC236}">
                <a16:creationId xmlns:a16="http://schemas.microsoft.com/office/drawing/2014/main" id="{5DC53031-0D17-F341-B556-CAB21B21AD95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1" y="0"/>
            <a:ext cx="4259262" cy="2528900"/>
          </a:xfrm>
        </p:spPr>
        <p:txBody>
          <a:bodyPr tIns="900000" anchor="ctr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00"/>
            </a:lvl1pPr>
          </a:lstStyle>
          <a:p>
            <a:r>
              <a:rPr lang="en-US" dirty="0"/>
              <a:t>Insert picture by clicking on the symbol. </a:t>
            </a:r>
            <a:br>
              <a:rPr lang="en-US" dirty="0"/>
            </a:br>
            <a:br>
              <a:rPr lang="en-US" dirty="0"/>
            </a:br>
            <a:r>
              <a:rPr lang="en-US" dirty="0"/>
              <a:t>Alternatively, copy the image to the clipboard,</a:t>
            </a:r>
            <a:br>
              <a:rPr lang="en-US" dirty="0"/>
            </a:br>
            <a:r>
              <a:rPr lang="en-US" dirty="0"/>
              <a:t> select the placeholder and paste the image.</a:t>
            </a:r>
          </a:p>
        </p:txBody>
      </p:sp>
      <p:sp>
        <p:nvSpPr>
          <p:cNvPr id="4" name="Bildplatzhalter 15">
            <a:extLst>
              <a:ext uri="{FF2B5EF4-FFF2-40B4-BE49-F238E27FC236}">
                <a16:creationId xmlns:a16="http://schemas.microsoft.com/office/drawing/2014/main" id="{7621CD60-0EEE-8EE1-2413-15ACFBB4FD0F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4259263" y="0"/>
            <a:ext cx="3889375" cy="5049838"/>
          </a:xfrm>
        </p:spPr>
        <p:txBody>
          <a:bodyPr tIns="900000" anchor="ctr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00"/>
            </a:lvl1pPr>
          </a:lstStyle>
          <a:p>
            <a:r>
              <a:rPr lang="en-US" dirty="0"/>
              <a:t>Insert picture by clicking on the symbol. </a:t>
            </a:r>
            <a:br>
              <a:rPr lang="en-US" dirty="0"/>
            </a:br>
            <a:br>
              <a:rPr lang="en-US" dirty="0"/>
            </a:br>
            <a:r>
              <a:rPr lang="en-US" dirty="0"/>
              <a:t>Alternatively, copy the image to the clipboard,</a:t>
            </a:r>
            <a:br>
              <a:rPr lang="en-US" dirty="0"/>
            </a:br>
            <a:r>
              <a:rPr lang="en-US" dirty="0"/>
              <a:t> select the placeholder and paste the image.</a:t>
            </a:r>
          </a:p>
        </p:txBody>
      </p:sp>
      <p:sp>
        <p:nvSpPr>
          <p:cNvPr id="7" name="Bildplatzhalter 15">
            <a:extLst>
              <a:ext uri="{FF2B5EF4-FFF2-40B4-BE49-F238E27FC236}">
                <a16:creationId xmlns:a16="http://schemas.microsoft.com/office/drawing/2014/main" id="{7834F377-608A-1764-2D89-CC39A31EDCCD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 bwMode="gray">
          <a:xfrm>
            <a:off x="8148638" y="0"/>
            <a:ext cx="4043362" cy="2528900"/>
          </a:xfrm>
        </p:spPr>
        <p:txBody>
          <a:bodyPr tIns="900000" anchor="ctr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00"/>
            </a:lvl1pPr>
          </a:lstStyle>
          <a:p>
            <a:r>
              <a:rPr lang="en-US" dirty="0"/>
              <a:t>Insert picture by clicking on the symbol. </a:t>
            </a:r>
            <a:br>
              <a:rPr lang="en-US" dirty="0"/>
            </a:br>
            <a:br>
              <a:rPr lang="en-US" dirty="0"/>
            </a:br>
            <a:r>
              <a:rPr lang="en-US" dirty="0"/>
              <a:t>Alternatively, copy the image to the clipboard,</a:t>
            </a:r>
            <a:br>
              <a:rPr lang="en-US" dirty="0"/>
            </a:br>
            <a:r>
              <a:rPr lang="en-US" dirty="0"/>
              <a:t> select the placeholder and paste the image.</a:t>
            </a:r>
          </a:p>
        </p:txBody>
      </p:sp>
      <p:sp>
        <p:nvSpPr>
          <p:cNvPr id="9" name="Bildplatzhalter 15">
            <a:extLst>
              <a:ext uri="{FF2B5EF4-FFF2-40B4-BE49-F238E27FC236}">
                <a16:creationId xmlns:a16="http://schemas.microsoft.com/office/drawing/2014/main" id="{4C11F33F-4952-0822-BD29-5112BEE9D3DF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 bwMode="gray">
          <a:xfrm>
            <a:off x="-1" y="2528900"/>
            <a:ext cx="4259263" cy="2520938"/>
          </a:xfrm>
        </p:spPr>
        <p:txBody>
          <a:bodyPr tIns="900000" anchor="ctr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00"/>
            </a:lvl1pPr>
          </a:lstStyle>
          <a:p>
            <a:r>
              <a:rPr lang="en-US" dirty="0"/>
              <a:t>Insert picture by clicking on the symbol. </a:t>
            </a:r>
            <a:br>
              <a:rPr lang="en-US" dirty="0"/>
            </a:br>
            <a:br>
              <a:rPr lang="en-US" dirty="0"/>
            </a:br>
            <a:r>
              <a:rPr lang="en-US" dirty="0"/>
              <a:t>Alternatively, copy the image to the clipboard,</a:t>
            </a:r>
            <a:br>
              <a:rPr lang="en-US" dirty="0"/>
            </a:br>
            <a:r>
              <a:rPr lang="en-US" dirty="0"/>
              <a:t> select the placeholder and paste the image.</a:t>
            </a:r>
          </a:p>
        </p:txBody>
      </p:sp>
      <p:sp>
        <p:nvSpPr>
          <p:cNvPr id="12" name="Bildplatzhalter 15">
            <a:extLst>
              <a:ext uri="{FF2B5EF4-FFF2-40B4-BE49-F238E27FC236}">
                <a16:creationId xmlns:a16="http://schemas.microsoft.com/office/drawing/2014/main" id="{E636C18E-9864-2F8B-F6CA-5E977141C9D2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 bwMode="gray">
          <a:xfrm>
            <a:off x="8148638" y="2528900"/>
            <a:ext cx="4043362" cy="2520938"/>
          </a:xfrm>
        </p:spPr>
        <p:txBody>
          <a:bodyPr tIns="900000" anchor="ctr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00"/>
            </a:lvl1pPr>
          </a:lstStyle>
          <a:p>
            <a:r>
              <a:rPr lang="en-US" dirty="0"/>
              <a:t>Insert picture by clicking on the symbol. </a:t>
            </a:r>
            <a:br>
              <a:rPr lang="en-US" dirty="0"/>
            </a:br>
            <a:br>
              <a:rPr lang="en-US" dirty="0"/>
            </a:br>
            <a:r>
              <a:rPr lang="en-US" dirty="0"/>
              <a:t>Alternatively, copy the image to the clipboard,</a:t>
            </a:r>
            <a:br>
              <a:rPr lang="en-US" dirty="0"/>
            </a:br>
            <a:r>
              <a:rPr lang="en-US" dirty="0"/>
              <a:t> select the placeholder and paste the image.</a:t>
            </a:r>
          </a:p>
        </p:txBody>
      </p:sp>
      <p:sp>
        <p:nvSpPr>
          <p:cNvPr id="10" name="Datumsplatzhalter 9">
            <a:extLst>
              <a:ext uri="{FF2B5EF4-FFF2-40B4-BE49-F238E27FC236}">
                <a16:creationId xmlns:a16="http://schemas.microsoft.com/office/drawing/2014/main" id="{481462F4-7E9B-9816-7A91-CD63748EFFA7}"/>
              </a:ext>
            </a:extLst>
          </p:cNvPr>
          <p:cNvSpPr>
            <a:spLocks noGrp="1"/>
          </p:cNvSpPr>
          <p:nvPr>
            <p:ph type="dt" sz="half" idx="25"/>
          </p:nvPr>
        </p:nvSpPr>
        <p:spPr/>
        <p:txBody>
          <a:bodyPr/>
          <a:lstStyle/>
          <a:p>
            <a:fld id="{7C4A37B6-D0BF-499A-8B3E-7C72515710D0}" type="datetime3">
              <a:rPr lang="de-DE" smtClean="0"/>
              <a:t>01/07/2025</a:t>
            </a:fld>
            <a:endParaRPr lang="en-US" dirty="0"/>
          </a:p>
        </p:txBody>
      </p:sp>
      <p:sp>
        <p:nvSpPr>
          <p:cNvPr id="13" name="Fußzeilenplatzhalter 12">
            <a:extLst>
              <a:ext uri="{FF2B5EF4-FFF2-40B4-BE49-F238E27FC236}">
                <a16:creationId xmlns:a16="http://schemas.microsoft.com/office/drawing/2014/main" id="{C2F10F94-6302-EFB2-67BF-534AEC1DF945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r>
              <a:rPr lang="en-US"/>
              <a:t>Name - Title of Presentation</a:t>
            </a:r>
            <a:endParaRPr lang="en-US" dirty="0"/>
          </a:p>
        </p:txBody>
      </p:sp>
      <p:sp>
        <p:nvSpPr>
          <p:cNvPr id="14" name="Foliennummernplatzhalter 13">
            <a:extLst>
              <a:ext uri="{FF2B5EF4-FFF2-40B4-BE49-F238E27FC236}">
                <a16:creationId xmlns:a16="http://schemas.microsoft.com/office/drawing/2014/main" id="{3E4D86CD-F0F0-D953-FC70-25716FFC7015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fld id="{776FC98F-84AD-404B-BCCB-49E092AA6DE0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45805538"/>
      </p:ext>
    </p:extLst>
  </p:cSld>
  <p:clrMapOvr>
    <a:masterClrMapping/>
  </p:clrMapOvr>
  <p:transition>
    <p:fade/>
  </p:transition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6x Picture horizontal (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05B1CE1-6CC9-F59B-4D70-B6BAA153740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71475" y="5265737"/>
            <a:ext cx="5616575" cy="1011236"/>
          </a:xfrm>
        </p:spPr>
        <p:txBody>
          <a:bodyPr tIns="0"/>
          <a:lstStyle/>
          <a:p>
            <a:r>
              <a:rPr lang="en-US" dirty="0"/>
              <a:t>Add Title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7B8292EB-A174-4AF5-E760-21B84099238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8148638" y="5265738"/>
            <a:ext cx="3671886" cy="1008062"/>
          </a:xfrm>
        </p:spPr>
        <p:txBody>
          <a:bodyPr/>
          <a:lstStyle/>
          <a:p>
            <a:pPr lvl="0"/>
            <a:r>
              <a:rPr lang="en-US" dirty="0"/>
              <a:t>Add text</a:t>
            </a:r>
          </a:p>
        </p:txBody>
      </p:sp>
      <p:sp>
        <p:nvSpPr>
          <p:cNvPr id="13" name="Bildplatzhalter 15">
            <a:extLst>
              <a:ext uri="{FF2B5EF4-FFF2-40B4-BE49-F238E27FC236}">
                <a16:creationId xmlns:a16="http://schemas.microsoft.com/office/drawing/2014/main" id="{06B3F9A9-7D44-E3D9-34C3-186B5CE72C70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1" y="0"/>
            <a:ext cx="4259262" cy="2528900"/>
          </a:xfrm>
        </p:spPr>
        <p:txBody>
          <a:bodyPr tIns="900000" anchor="ctr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00"/>
            </a:lvl1pPr>
          </a:lstStyle>
          <a:p>
            <a:r>
              <a:rPr lang="en-US" dirty="0"/>
              <a:t>Insert picture by clicking on the symbol. </a:t>
            </a:r>
            <a:br>
              <a:rPr lang="en-US" dirty="0"/>
            </a:br>
            <a:br>
              <a:rPr lang="en-US" dirty="0"/>
            </a:br>
            <a:r>
              <a:rPr lang="en-US" dirty="0"/>
              <a:t>Alternatively, copy the image to the clipboard,</a:t>
            </a:r>
            <a:br>
              <a:rPr lang="en-US" dirty="0"/>
            </a:br>
            <a:r>
              <a:rPr lang="en-US" dirty="0"/>
              <a:t> select the placeholder and paste the image.</a:t>
            </a:r>
          </a:p>
        </p:txBody>
      </p:sp>
      <p:sp>
        <p:nvSpPr>
          <p:cNvPr id="14" name="Bildplatzhalter 15">
            <a:extLst>
              <a:ext uri="{FF2B5EF4-FFF2-40B4-BE49-F238E27FC236}">
                <a16:creationId xmlns:a16="http://schemas.microsoft.com/office/drawing/2014/main" id="{487580F0-10F0-597D-B74B-3AA53C72CB5F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4259263" y="0"/>
            <a:ext cx="3889375" cy="2528900"/>
          </a:xfrm>
        </p:spPr>
        <p:txBody>
          <a:bodyPr tIns="900000" anchor="ctr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00"/>
            </a:lvl1pPr>
          </a:lstStyle>
          <a:p>
            <a:r>
              <a:rPr lang="en-US" dirty="0"/>
              <a:t>Insert picture by clicking on the symbol. </a:t>
            </a:r>
            <a:br>
              <a:rPr lang="en-US" dirty="0"/>
            </a:br>
            <a:br>
              <a:rPr lang="en-US" dirty="0"/>
            </a:br>
            <a:r>
              <a:rPr lang="en-US" dirty="0"/>
              <a:t>Alternatively, copy the image to the clipboard,</a:t>
            </a:r>
            <a:br>
              <a:rPr lang="en-US" dirty="0"/>
            </a:br>
            <a:r>
              <a:rPr lang="en-US" dirty="0"/>
              <a:t> select the placeholder and paste the image.</a:t>
            </a:r>
          </a:p>
        </p:txBody>
      </p:sp>
      <p:sp>
        <p:nvSpPr>
          <p:cNvPr id="15" name="Bildplatzhalter 15">
            <a:extLst>
              <a:ext uri="{FF2B5EF4-FFF2-40B4-BE49-F238E27FC236}">
                <a16:creationId xmlns:a16="http://schemas.microsoft.com/office/drawing/2014/main" id="{479D4CF8-3CF2-33EE-3E52-E67D33D232A2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 bwMode="gray">
          <a:xfrm>
            <a:off x="8148638" y="0"/>
            <a:ext cx="4043362" cy="2528900"/>
          </a:xfrm>
        </p:spPr>
        <p:txBody>
          <a:bodyPr tIns="900000" anchor="ctr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00"/>
            </a:lvl1pPr>
          </a:lstStyle>
          <a:p>
            <a:r>
              <a:rPr lang="en-US" dirty="0"/>
              <a:t>Insert picture by clicking on the symbol. </a:t>
            </a:r>
            <a:br>
              <a:rPr lang="en-US" dirty="0"/>
            </a:br>
            <a:br>
              <a:rPr lang="en-US" dirty="0"/>
            </a:br>
            <a:r>
              <a:rPr lang="en-US" dirty="0"/>
              <a:t>Alternatively, copy the image to the clipboard,</a:t>
            </a:r>
            <a:br>
              <a:rPr lang="en-US" dirty="0"/>
            </a:br>
            <a:r>
              <a:rPr lang="en-US" dirty="0"/>
              <a:t> select the placeholder and paste the image.</a:t>
            </a:r>
          </a:p>
        </p:txBody>
      </p:sp>
      <p:sp>
        <p:nvSpPr>
          <p:cNvPr id="16" name="Bildplatzhalter 15">
            <a:extLst>
              <a:ext uri="{FF2B5EF4-FFF2-40B4-BE49-F238E27FC236}">
                <a16:creationId xmlns:a16="http://schemas.microsoft.com/office/drawing/2014/main" id="{681FE394-9FBF-7254-E399-7BF501CFF5E1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 bwMode="gray">
          <a:xfrm>
            <a:off x="-1" y="2528900"/>
            <a:ext cx="4259263" cy="2520938"/>
          </a:xfrm>
        </p:spPr>
        <p:txBody>
          <a:bodyPr tIns="900000" anchor="ctr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00"/>
            </a:lvl1pPr>
          </a:lstStyle>
          <a:p>
            <a:r>
              <a:rPr lang="en-US" dirty="0"/>
              <a:t>Insert picture by clicking on the symbol. </a:t>
            </a:r>
            <a:br>
              <a:rPr lang="en-US" dirty="0"/>
            </a:br>
            <a:br>
              <a:rPr lang="en-US" dirty="0"/>
            </a:br>
            <a:r>
              <a:rPr lang="en-US" dirty="0"/>
              <a:t>Alternatively, copy the image to the clipboard,</a:t>
            </a:r>
            <a:br>
              <a:rPr lang="en-US" dirty="0"/>
            </a:br>
            <a:r>
              <a:rPr lang="en-US" dirty="0"/>
              <a:t> select the placeholder and paste the image.</a:t>
            </a:r>
          </a:p>
        </p:txBody>
      </p:sp>
      <p:sp>
        <p:nvSpPr>
          <p:cNvPr id="17" name="Bildplatzhalter 15">
            <a:extLst>
              <a:ext uri="{FF2B5EF4-FFF2-40B4-BE49-F238E27FC236}">
                <a16:creationId xmlns:a16="http://schemas.microsoft.com/office/drawing/2014/main" id="{2EC1BE5C-58BE-A28F-D48F-AACC647D303F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 bwMode="gray">
          <a:xfrm>
            <a:off x="4259262" y="2528900"/>
            <a:ext cx="3889375" cy="2520938"/>
          </a:xfrm>
        </p:spPr>
        <p:txBody>
          <a:bodyPr tIns="900000" anchor="ctr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00"/>
            </a:lvl1pPr>
          </a:lstStyle>
          <a:p>
            <a:r>
              <a:rPr lang="en-US" dirty="0"/>
              <a:t>Insert picture by clicking on the symbol. </a:t>
            </a:r>
            <a:br>
              <a:rPr lang="en-US" dirty="0"/>
            </a:br>
            <a:br>
              <a:rPr lang="en-US" dirty="0"/>
            </a:br>
            <a:r>
              <a:rPr lang="en-US" dirty="0"/>
              <a:t>Alternatively, copy the image to the clipboard,</a:t>
            </a:r>
            <a:br>
              <a:rPr lang="en-US" dirty="0"/>
            </a:br>
            <a:r>
              <a:rPr lang="en-US" dirty="0"/>
              <a:t> select the placeholder and paste the image.</a:t>
            </a:r>
          </a:p>
        </p:txBody>
      </p:sp>
      <p:sp>
        <p:nvSpPr>
          <p:cNvPr id="18" name="Bildplatzhalter 15">
            <a:extLst>
              <a:ext uri="{FF2B5EF4-FFF2-40B4-BE49-F238E27FC236}">
                <a16:creationId xmlns:a16="http://schemas.microsoft.com/office/drawing/2014/main" id="{A1CE0C82-8D00-6128-A723-75FB35F9E4B9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 bwMode="gray">
          <a:xfrm>
            <a:off x="8148638" y="2528900"/>
            <a:ext cx="4043362" cy="2520938"/>
          </a:xfrm>
        </p:spPr>
        <p:txBody>
          <a:bodyPr tIns="900000" anchor="ctr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00"/>
            </a:lvl1pPr>
          </a:lstStyle>
          <a:p>
            <a:r>
              <a:rPr lang="en-US" dirty="0"/>
              <a:t>Insert picture by clicking on the symbol. </a:t>
            </a:r>
            <a:br>
              <a:rPr lang="en-US" dirty="0"/>
            </a:br>
            <a:br>
              <a:rPr lang="en-US" dirty="0"/>
            </a:br>
            <a:r>
              <a:rPr lang="en-US" dirty="0"/>
              <a:t>Alternatively, copy the image to the clipboard,</a:t>
            </a:r>
            <a:br>
              <a:rPr lang="en-US" dirty="0"/>
            </a:br>
            <a:r>
              <a:rPr lang="en-US" dirty="0"/>
              <a:t> select the placeholder and paste the image.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1D9D3A7-656E-5EF8-DC21-9E4100AD724C}"/>
              </a:ext>
            </a:extLst>
          </p:cNvPr>
          <p:cNvSpPr>
            <a:spLocks noGrp="1"/>
          </p:cNvSpPr>
          <p:nvPr>
            <p:ph type="dt" sz="half" idx="25"/>
          </p:nvPr>
        </p:nvSpPr>
        <p:spPr/>
        <p:txBody>
          <a:bodyPr/>
          <a:lstStyle/>
          <a:p>
            <a:fld id="{2D92AAC5-989F-4178-BD31-62C192B777D2}" type="datetime3">
              <a:rPr lang="de-DE" smtClean="0"/>
              <a:t>01/07/2025</a:t>
            </a:fld>
            <a:endParaRPr lang="en-US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F115DD17-D1C2-CAD1-2B57-987C840DD93B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r>
              <a:rPr lang="en-US"/>
              <a:t>Name - Title of Presentation</a:t>
            </a:r>
            <a:endParaRPr lang="en-US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D4FC4E6F-39C1-2BF6-B3CD-824ACF396079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fld id="{776FC98F-84AD-404B-BCCB-49E092AA6DE0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37833482"/>
      </p:ext>
    </p:extLst>
  </p:cSld>
  <p:clrMapOvr>
    <a:masterClrMapping/>
  </p:clrMapOvr>
  <p:transition>
    <p:fade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Pictur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15">
            <a:extLst>
              <a:ext uri="{FF2B5EF4-FFF2-40B4-BE49-F238E27FC236}">
                <a16:creationId xmlns:a16="http://schemas.microsoft.com/office/drawing/2014/main" id="{3D7FEBCC-B6B1-D6F4-B8C4-39CAEC3BF559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1" y="-1"/>
            <a:ext cx="12191999" cy="6858001"/>
          </a:xfrm>
        </p:spPr>
        <p:txBody>
          <a:bodyPr tIns="900000" anchor="ctr"/>
          <a:lstStyle>
            <a:lvl1pPr algn="ctr">
              <a:defRPr sz="1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picture by clicking on the symbol. </a:t>
            </a:r>
            <a:br>
              <a:rPr lang="en-US" dirty="0"/>
            </a:br>
            <a:br>
              <a:rPr lang="en-US" dirty="0"/>
            </a:br>
            <a:r>
              <a:rPr lang="en-US" dirty="0"/>
              <a:t>Alternatively, copy the image to the clipboard,</a:t>
            </a:r>
            <a:br>
              <a:rPr lang="en-US" dirty="0"/>
            </a:br>
            <a:r>
              <a:rPr lang="en-US" dirty="0"/>
              <a:t> select the placeholder and paste the image.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705B1CE1-6CC9-F59B-4D70-B6BAA153740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71475" y="5265737"/>
            <a:ext cx="7561263" cy="1011236"/>
          </a:xfrm>
        </p:spPr>
        <p:txBody>
          <a:bodyPr tIns="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Add Title</a:t>
            </a: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94A93AEE-C09B-11EE-62B2-D258B26B0D2C}"/>
              </a:ext>
            </a:extLst>
          </p:cNvPr>
          <p:cNvSpPr/>
          <p:nvPr userDrawn="1"/>
        </p:nvSpPr>
        <p:spPr bwMode="gray">
          <a:xfrm>
            <a:off x="12233756" y="6026150"/>
            <a:ext cx="1963144" cy="828677"/>
          </a:xfrm>
          <a:prstGeom prst="rect">
            <a:avLst/>
          </a:prstGeom>
          <a:solidFill>
            <a:schemeClr val="bg1"/>
          </a:solidFill>
          <a:ln w="6350"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44000" tIns="144000" rIns="144000" bIns="144000" rtlCol="0" anchor="ctr"/>
          <a:lstStyle/>
          <a:p>
            <a:pPr algn="l"/>
            <a:r>
              <a:rPr lang="en-US" sz="1000" b="1" dirty="0">
                <a:solidFill>
                  <a:schemeClr val="tx1"/>
                </a:solidFill>
              </a:rPr>
              <a:t>Logo Color</a:t>
            </a:r>
          </a:p>
          <a:p>
            <a:pPr algn="l"/>
            <a:r>
              <a:rPr lang="en-US" sz="1000" dirty="0">
                <a:solidFill>
                  <a:schemeClr val="tx1"/>
                </a:solidFill>
              </a:rPr>
              <a:t>For light images,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the logo color can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be changed to black.</a:t>
            </a:r>
          </a:p>
        </p:txBody>
      </p:sp>
      <p:sp>
        <p:nvSpPr>
          <p:cNvPr id="10" name="Datumsplatzhalter 9">
            <a:extLst>
              <a:ext uri="{FF2B5EF4-FFF2-40B4-BE49-F238E27FC236}">
                <a16:creationId xmlns:a16="http://schemas.microsoft.com/office/drawing/2014/main" id="{A26D7894-F140-1F47-D2F6-229CD2C494F5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301DE5AC-27F5-45CD-82B8-C26DA551C741}" type="datetime3">
              <a:rPr lang="de-DE" smtClean="0"/>
              <a:t>01/07/2025</a:t>
            </a:fld>
            <a:endParaRPr lang="en-US" dirty="0"/>
          </a:p>
        </p:txBody>
      </p:sp>
      <p:sp>
        <p:nvSpPr>
          <p:cNvPr id="11" name="Fußzeilenplatzhalter 10">
            <a:extLst>
              <a:ext uri="{FF2B5EF4-FFF2-40B4-BE49-F238E27FC236}">
                <a16:creationId xmlns:a16="http://schemas.microsoft.com/office/drawing/2014/main" id="{60435903-70F1-B75C-C10A-BC04CBD3B6F7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Name - Title of Presentation</a:t>
            </a:r>
            <a:endParaRPr lang="en-US" dirty="0"/>
          </a:p>
        </p:txBody>
      </p:sp>
      <p:sp>
        <p:nvSpPr>
          <p:cNvPr id="12" name="Foliennummernplatzhalter 11">
            <a:extLst>
              <a:ext uri="{FF2B5EF4-FFF2-40B4-BE49-F238E27FC236}">
                <a16:creationId xmlns:a16="http://schemas.microsoft.com/office/drawing/2014/main" id="{5C091A42-6A7C-132E-E5ED-A7A2F10231A4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76FC98F-84AD-404B-BCCB-49E092AA6DE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SmartArt Placeholder 3">
            <a:extLst>
              <a:ext uri="{FF2B5EF4-FFF2-40B4-BE49-F238E27FC236}">
                <a16:creationId xmlns:a16="http://schemas.microsoft.com/office/drawing/2014/main" id="{AF2A633C-85DA-E08F-E985-EE1D753E33BE}"/>
              </a:ext>
            </a:extLst>
          </p:cNvPr>
          <p:cNvSpPr>
            <a:spLocks noGrp="1" noChangeAspect="1"/>
          </p:cNvSpPr>
          <p:nvPr>
            <p:ph type="dgm" sz="quarter" idx="21" hasCustomPrompt="1"/>
          </p:nvPr>
        </p:nvSpPr>
        <p:spPr bwMode="gray">
          <a:xfrm>
            <a:off x="11140463" y="6437457"/>
            <a:ext cx="689586" cy="247362"/>
          </a:xfrm>
          <a:custGeom>
            <a:avLst/>
            <a:gdLst>
              <a:gd name="connsiteX0" fmla="*/ 526439 w 689586"/>
              <a:gd name="connsiteY0" fmla="*/ 247 h 247362"/>
              <a:gd name="connsiteX1" fmla="*/ 689586 w 689586"/>
              <a:gd name="connsiteY1" fmla="*/ 247 h 247362"/>
              <a:gd name="connsiteX2" fmla="*/ 689586 w 689586"/>
              <a:gd name="connsiteY2" fmla="*/ 55816 h 247362"/>
              <a:gd name="connsiteX3" fmla="*/ 641876 w 689586"/>
              <a:gd name="connsiteY3" fmla="*/ 55816 h 247362"/>
              <a:gd name="connsiteX4" fmla="*/ 641876 w 689586"/>
              <a:gd name="connsiteY4" fmla="*/ 247362 h 247362"/>
              <a:gd name="connsiteX5" fmla="*/ 574149 w 689586"/>
              <a:gd name="connsiteY5" fmla="*/ 247362 h 247362"/>
              <a:gd name="connsiteX6" fmla="*/ 574149 w 689586"/>
              <a:gd name="connsiteY6" fmla="*/ 55816 h 247362"/>
              <a:gd name="connsiteX7" fmla="*/ 526439 w 689586"/>
              <a:gd name="connsiteY7" fmla="*/ 55816 h 247362"/>
              <a:gd name="connsiteX8" fmla="*/ 442470 w 689586"/>
              <a:gd name="connsiteY8" fmla="*/ 247 h 247362"/>
              <a:gd name="connsiteX9" fmla="*/ 510194 w 689586"/>
              <a:gd name="connsiteY9" fmla="*/ 247 h 247362"/>
              <a:gd name="connsiteX10" fmla="*/ 510194 w 689586"/>
              <a:gd name="connsiteY10" fmla="*/ 247116 h 247362"/>
              <a:gd name="connsiteX11" fmla="*/ 442470 w 689586"/>
              <a:gd name="connsiteY11" fmla="*/ 247116 h 247362"/>
              <a:gd name="connsiteX12" fmla="*/ 248102 w 689586"/>
              <a:gd name="connsiteY12" fmla="*/ 247 h 247362"/>
              <a:gd name="connsiteX13" fmla="*/ 250146 w 689586"/>
              <a:gd name="connsiteY13" fmla="*/ 247 h 247362"/>
              <a:gd name="connsiteX14" fmla="*/ 249899 w 689586"/>
              <a:gd name="connsiteY14" fmla="*/ 247077 h 247362"/>
              <a:gd name="connsiteX15" fmla="*/ 249900 w 689586"/>
              <a:gd name="connsiteY15" fmla="*/ 247078 h 247362"/>
              <a:gd name="connsiteX16" fmla="*/ 249900 w 689586"/>
              <a:gd name="connsiteY16" fmla="*/ 247113 h 247362"/>
              <a:gd name="connsiteX17" fmla="*/ 249899 w 689586"/>
              <a:gd name="connsiteY17" fmla="*/ 247111 h 247362"/>
              <a:gd name="connsiteX18" fmla="*/ 249899 w 689586"/>
              <a:gd name="connsiteY18" fmla="*/ 247113 h 247362"/>
              <a:gd name="connsiteX19" fmla="*/ 249899 w 689586"/>
              <a:gd name="connsiteY19" fmla="*/ 247114 h 247362"/>
              <a:gd name="connsiteX20" fmla="*/ 249899 w 689586"/>
              <a:gd name="connsiteY20" fmla="*/ 247116 h 247362"/>
              <a:gd name="connsiteX21" fmla="*/ 249864 w 689586"/>
              <a:gd name="connsiteY21" fmla="*/ 247116 h 247362"/>
              <a:gd name="connsiteX22" fmla="*/ 249864 w 689586"/>
              <a:gd name="connsiteY22" fmla="*/ 247114 h 247362"/>
              <a:gd name="connsiteX23" fmla="*/ 0 w 689586"/>
              <a:gd name="connsiteY23" fmla="*/ 247114 h 247362"/>
              <a:gd name="connsiteX24" fmla="*/ 7858 w 689586"/>
              <a:gd name="connsiteY24" fmla="*/ 186719 h 247362"/>
              <a:gd name="connsiteX25" fmla="*/ 249861 w 689586"/>
              <a:gd name="connsiteY25" fmla="*/ 247105 h 247362"/>
              <a:gd name="connsiteX26" fmla="*/ 249859 w 689586"/>
              <a:gd name="connsiteY26" fmla="*/ 247095 h 247362"/>
              <a:gd name="connsiteX27" fmla="*/ 24103 w 689586"/>
              <a:gd name="connsiteY27" fmla="*/ 142073 h 247362"/>
              <a:gd name="connsiteX28" fmla="*/ 56837 w 689586"/>
              <a:gd name="connsiteY28" fmla="*/ 90557 h 247362"/>
              <a:gd name="connsiteX29" fmla="*/ 249854 w 689586"/>
              <a:gd name="connsiteY29" fmla="*/ 247076 h 247362"/>
              <a:gd name="connsiteX30" fmla="*/ 249834 w 689586"/>
              <a:gd name="connsiteY30" fmla="*/ 246997 h 247362"/>
              <a:gd name="connsiteX31" fmla="*/ 92849 w 689586"/>
              <a:gd name="connsiteY31" fmla="*/ 55039 h 247362"/>
              <a:gd name="connsiteX32" fmla="*/ 144612 w 689586"/>
              <a:gd name="connsiteY32" fmla="*/ 23078 h 247362"/>
              <a:gd name="connsiteX33" fmla="*/ 249821 w 689586"/>
              <a:gd name="connsiteY33" fmla="*/ 246945 h 247362"/>
              <a:gd name="connsiteX34" fmla="*/ 189750 w 689586"/>
              <a:gd name="connsiteY34" fmla="*/ 7364 h 247362"/>
              <a:gd name="connsiteX35" fmla="*/ 248102 w 689586"/>
              <a:gd name="connsiteY35" fmla="*/ 247 h 247362"/>
              <a:gd name="connsiteX36" fmla="*/ 352898 w 689586"/>
              <a:gd name="connsiteY36" fmla="*/ 0 h 247362"/>
              <a:gd name="connsiteX37" fmla="*/ 430524 w 689586"/>
              <a:gd name="connsiteY37" fmla="*/ 0 h 247362"/>
              <a:gd name="connsiteX38" fmla="*/ 330557 w 689586"/>
              <a:gd name="connsiteY38" fmla="*/ 124315 h 247362"/>
              <a:gd name="connsiteX39" fmla="*/ 431017 w 689586"/>
              <a:gd name="connsiteY39" fmla="*/ 247116 h 247362"/>
              <a:gd name="connsiteX40" fmla="*/ 355716 w 689586"/>
              <a:gd name="connsiteY40" fmla="*/ 247116 h 247362"/>
              <a:gd name="connsiteX41" fmla="*/ 266144 w 689586"/>
              <a:gd name="connsiteY41" fmla="*/ 150954 h 247362"/>
              <a:gd name="connsiteX42" fmla="*/ 266144 w 689586"/>
              <a:gd name="connsiteY42" fmla="*/ 95916 h 2473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</a:cxnLst>
            <a:rect l="l" t="t" r="r" b="b"/>
            <a:pathLst>
              <a:path w="689586" h="247362">
                <a:moveTo>
                  <a:pt x="526439" y="247"/>
                </a:moveTo>
                <a:lnTo>
                  <a:pt x="689586" y="247"/>
                </a:lnTo>
                <a:lnTo>
                  <a:pt x="689586" y="55816"/>
                </a:lnTo>
                <a:lnTo>
                  <a:pt x="641876" y="55816"/>
                </a:lnTo>
                <a:lnTo>
                  <a:pt x="641876" y="247362"/>
                </a:lnTo>
                <a:lnTo>
                  <a:pt x="574149" y="247362"/>
                </a:lnTo>
                <a:lnTo>
                  <a:pt x="574149" y="55816"/>
                </a:lnTo>
                <a:lnTo>
                  <a:pt x="526439" y="55816"/>
                </a:lnTo>
                <a:close/>
                <a:moveTo>
                  <a:pt x="442470" y="247"/>
                </a:moveTo>
                <a:lnTo>
                  <a:pt x="510194" y="247"/>
                </a:lnTo>
                <a:lnTo>
                  <a:pt x="510194" y="247116"/>
                </a:lnTo>
                <a:lnTo>
                  <a:pt x="442470" y="247116"/>
                </a:lnTo>
                <a:close/>
                <a:moveTo>
                  <a:pt x="248102" y="247"/>
                </a:moveTo>
                <a:lnTo>
                  <a:pt x="250146" y="247"/>
                </a:lnTo>
                <a:lnTo>
                  <a:pt x="249899" y="247077"/>
                </a:lnTo>
                <a:lnTo>
                  <a:pt x="249900" y="247078"/>
                </a:lnTo>
                <a:lnTo>
                  <a:pt x="249900" y="247113"/>
                </a:lnTo>
                <a:lnTo>
                  <a:pt x="249899" y="247111"/>
                </a:lnTo>
                <a:lnTo>
                  <a:pt x="249899" y="247113"/>
                </a:lnTo>
                <a:lnTo>
                  <a:pt x="249899" y="247114"/>
                </a:lnTo>
                <a:lnTo>
                  <a:pt x="249899" y="247116"/>
                </a:lnTo>
                <a:lnTo>
                  <a:pt x="249864" y="247116"/>
                </a:lnTo>
                <a:lnTo>
                  <a:pt x="249864" y="247114"/>
                </a:lnTo>
                <a:lnTo>
                  <a:pt x="0" y="247114"/>
                </a:lnTo>
                <a:cubicBezTo>
                  <a:pt x="246" y="226289"/>
                  <a:pt x="2784" y="205994"/>
                  <a:pt x="7858" y="186719"/>
                </a:cubicBezTo>
                <a:lnTo>
                  <a:pt x="249861" y="247105"/>
                </a:lnTo>
                <a:lnTo>
                  <a:pt x="249859" y="247095"/>
                </a:lnTo>
                <a:lnTo>
                  <a:pt x="24103" y="142073"/>
                </a:lnTo>
                <a:cubicBezTo>
                  <a:pt x="32736" y="123539"/>
                  <a:pt x="43906" y="106273"/>
                  <a:pt x="56837" y="90557"/>
                </a:cubicBezTo>
                <a:lnTo>
                  <a:pt x="249854" y="247076"/>
                </a:lnTo>
                <a:lnTo>
                  <a:pt x="249834" y="246997"/>
                </a:lnTo>
                <a:lnTo>
                  <a:pt x="92849" y="55039"/>
                </a:lnTo>
                <a:cubicBezTo>
                  <a:pt x="108600" y="42353"/>
                  <a:pt x="125831" y="31712"/>
                  <a:pt x="144612" y="23078"/>
                </a:cubicBezTo>
                <a:lnTo>
                  <a:pt x="249821" y="246945"/>
                </a:lnTo>
                <a:lnTo>
                  <a:pt x="189750" y="7364"/>
                </a:lnTo>
                <a:cubicBezTo>
                  <a:pt x="208531" y="2784"/>
                  <a:pt x="228052" y="247"/>
                  <a:pt x="248102" y="247"/>
                </a:cubicBezTo>
                <a:close/>
                <a:moveTo>
                  <a:pt x="352898" y="0"/>
                </a:moveTo>
                <a:lnTo>
                  <a:pt x="430524" y="0"/>
                </a:lnTo>
                <a:lnTo>
                  <a:pt x="330557" y="124315"/>
                </a:lnTo>
                <a:lnTo>
                  <a:pt x="431017" y="247116"/>
                </a:lnTo>
                <a:lnTo>
                  <a:pt x="355716" y="247116"/>
                </a:lnTo>
                <a:lnTo>
                  <a:pt x="266144" y="150954"/>
                </a:lnTo>
                <a:lnTo>
                  <a:pt x="266144" y="95916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r>
              <a:rPr lang="en-US" noProof="1"/>
              <a:t> dsafasdfadsfdsfasdfsadfasdfadsf sdaf asdfasdf</a:t>
            </a:r>
          </a:p>
        </p:txBody>
      </p:sp>
    </p:spTree>
    <p:extLst>
      <p:ext uri="{BB962C8B-B14F-4D97-AF65-F5344CB8AC3E}">
        <p14:creationId xmlns:p14="http://schemas.microsoft.com/office/powerpoint/2010/main" val="39578022"/>
      </p:ext>
    </p:extLst>
  </p:cSld>
  <p:clrMapOvr>
    <a:masterClrMapping/>
  </p:clrMapOvr>
  <p:transition>
    <p:fade/>
  </p:transition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x Text und 2x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platzhalter 7">
            <a:extLst>
              <a:ext uri="{FF2B5EF4-FFF2-40B4-BE49-F238E27FC236}">
                <a16:creationId xmlns:a16="http://schemas.microsoft.com/office/drawing/2014/main" id="{7B8292EB-A174-4AF5-E760-21B84099238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371475" y="5265738"/>
            <a:ext cx="5616575" cy="1011236"/>
          </a:xfrm>
        </p:spPr>
        <p:txBody>
          <a:bodyPr/>
          <a:lstStyle/>
          <a:p>
            <a:pPr lvl="0"/>
            <a:r>
              <a:rPr lang="en-US" dirty="0"/>
              <a:t>Add text</a:t>
            </a:r>
          </a:p>
        </p:txBody>
      </p:sp>
      <p:sp>
        <p:nvSpPr>
          <p:cNvPr id="7" name="Bildplatzhalter 15">
            <a:extLst>
              <a:ext uri="{FF2B5EF4-FFF2-40B4-BE49-F238E27FC236}">
                <a16:creationId xmlns:a16="http://schemas.microsoft.com/office/drawing/2014/main" id="{3D7FEBCC-B6B1-D6F4-B8C4-39CAEC3BF559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371474" y="1592263"/>
            <a:ext cx="5616575" cy="3457575"/>
          </a:xfrm>
        </p:spPr>
        <p:txBody>
          <a:bodyPr tIns="900000" anchor="ctr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00"/>
            </a:lvl1pPr>
          </a:lstStyle>
          <a:p>
            <a:r>
              <a:rPr lang="en-US" dirty="0"/>
              <a:t>Insert picture by clicking on the symbol. </a:t>
            </a:r>
            <a:br>
              <a:rPr lang="en-US" dirty="0"/>
            </a:br>
            <a:br>
              <a:rPr lang="en-US" dirty="0"/>
            </a:br>
            <a:r>
              <a:rPr lang="en-US" dirty="0"/>
              <a:t>Alternatively, copy the image to the clipboard,</a:t>
            </a:r>
            <a:br>
              <a:rPr lang="en-US" dirty="0"/>
            </a:br>
            <a:r>
              <a:rPr lang="en-US" dirty="0"/>
              <a:t> select the placeholder and paste the image.</a:t>
            </a:r>
          </a:p>
        </p:txBody>
      </p:sp>
      <p:sp>
        <p:nvSpPr>
          <p:cNvPr id="3" name="Bildplatzhalter 15">
            <a:extLst>
              <a:ext uri="{FF2B5EF4-FFF2-40B4-BE49-F238E27FC236}">
                <a16:creationId xmlns:a16="http://schemas.microsoft.com/office/drawing/2014/main" id="{CD8BE5C1-5277-9F0D-214B-6BE9AC8AC9F3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6203949" y="1592263"/>
            <a:ext cx="5616575" cy="3457575"/>
          </a:xfrm>
        </p:spPr>
        <p:txBody>
          <a:bodyPr tIns="900000" anchor="ctr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00"/>
            </a:lvl1pPr>
          </a:lstStyle>
          <a:p>
            <a:r>
              <a:rPr lang="en-US" dirty="0"/>
              <a:t>Insert picture by clicking on the symbol. </a:t>
            </a:r>
            <a:br>
              <a:rPr lang="en-US" dirty="0"/>
            </a:br>
            <a:br>
              <a:rPr lang="en-US" dirty="0"/>
            </a:br>
            <a:r>
              <a:rPr lang="en-US" dirty="0"/>
              <a:t>Alternatively, copy the image to the clipboard,</a:t>
            </a:r>
            <a:br>
              <a:rPr lang="en-US" dirty="0"/>
            </a:br>
            <a:r>
              <a:rPr lang="en-US" dirty="0"/>
              <a:t> select the placeholder and paste the image.</a:t>
            </a:r>
          </a:p>
        </p:txBody>
      </p:sp>
      <p:sp>
        <p:nvSpPr>
          <p:cNvPr id="9" name="Titel 8">
            <a:extLst>
              <a:ext uri="{FF2B5EF4-FFF2-40B4-BE49-F238E27FC236}">
                <a16:creationId xmlns:a16="http://schemas.microsoft.com/office/drawing/2014/main" id="{6D2788FA-E004-70D7-3A51-569E0F2546A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Add Title</a:t>
            </a:r>
          </a:p>
        </p:txBody>
      </p:sp>
      <p:sp>
        <p:nvSpPr>
          <p:cNvPr id="10" name="Textplatzhalter 7">
            <a:extLst>
              <a:ext uri="{FF2B5EF4-FFF2-40B4-BE49-F238E27FC236}">
                <a16:creationId xmlns:a16="http://schemas.microsoft.com/office/drawing/2014/main" id="{EEEB74CB-203B-02FC-976A-B40F94BCE8A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6203950" y="5265738"/>
            <a:ext cx="5616575" cy="1011236"/>
          </a:xfrm>
        </p:spPr>
        <p:txBody>
          <a:bodyPr/>
          <a:lstStyle/>
          <a:p>
            <a:pPr lvl="0"/>
            <a:r>
              <a:rPr lang="en-US" dirty="0"/>
              <a:t>Add text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1EE3343F-20F8-0E46-42FA-821D2026B50E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2E398E94-D9CE-4B5A-A608-4F4E7E889A2C}" type="datetime3">
              <a:rPr lang="de-DE" smtClean="0"/>
              <a:t>01/07/2025</a:t>
            </a:fld>
            <a:endParaRPr lang="en-US" dirty="0"/>
          </a:p>
        </p:txBody>
      </p:sp>
      <p:sp>
        <p:nvSpPr>
          <p:cNvPr id="11" name="Fußzeilenplatzhalter 10">
            <a:extLst>
              <a:ext uri="{FF2B5EF4-FFF2-40B4-BE49-F238E27FC236}">
                <a16:creationId xmlns:a16="http://schemas.microsoft.com/office/drawing/2014/main" id="{57DF4F2F-5D04-4C9E-307B-30037ABC94A6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Name - Title of Presentation</a:t>
            </a:r>
            <a:endParaRPr lang="en-US" dirty="0"/>
          </a:p>
        </p:txBody>
      </p:sp>
      <p:sp>
        <p:nvSpPr>
          <p:cNvPr id="12" name="Foliennummernplatzhalter 11">
            <a:extLst>
              <a:ext uri="{FF2B5EF4-FFF2-40B4-BE49-F238E27FC236}">
                <a16:creationId xmlns:a16="http://schemas.microsoft.com/office/drawing/2014/main" id="{D81DB6B4-64B1-EEDE-D757-88A82845A33F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776FC98F-84AD-404B-BCCB-49E092AA6DE0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75192315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horizontal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15">
            <a:extLst>
              <a:ext uri="{FF2B5EF4-FFF2-40B4-BE49-F238E27FC236}">
                <a16:creationId xmlns:a16="http://schemas.microsoft.com/office/drawing/2014/main" id="{E617D12E-D9F2-FE30-962E-F64655611604}"/>
              </a:ext>
            </a:extLst>
          </p:cNvPr>
          <p:cNvSpPr>
            <a:spLocks noGrp="1"/>
          </p:cNvSpPr>
          <p:nvPr userDrawn="1">
            <p:ph type="pic" sz="quarter" idx="13" hasCustomPrompt="1"/>
          </p:nvPr>
        </p:nvSpPr>
        <p:spPr bwMode="gray">
          <a:xfrm>
            <a:off x="0" y="1"/>
            <a:ext cx="12191999" cy="3824287"/>
          </a:xfrm>
        </p:spPr>
        <p:txBody>
          <a:bodyPr tIns="900000" anchor="ctr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picture by clicking on the symbol. </a:t>
            </a:r>
            <a:br>
              <a:rPr lang="en-US" dirty="0"/>
            </a:br>
            <a:br>
              <a:rPr lang="en-US" dirty="0"/>
            </a:br>
            <a:r>
              <a:rPr lang="en-US" dirty="0"/>
              <a:t>Alternatively, copy the image to the clipboard,</a:t>
            </a:r>
            <a:br>
              <a:rPr lang="en-US" dirty="0"/>
            </a:br>
            <a:r>
              <a:rPr lang="en-US" dirty="0"/>
              <a:t> select the placeholder and paste the image.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446F4A2-1BBD-C6A2-7866-B5B1968C941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black">
          <a:xfrm>
            <a:off x="371475" y="4041775"/>
            <a:ext cx="5616575" cy="1691479"/>
          </a:xfrm>
        </p:spPr>
        <p:txBody>
          <a:bodyPr rIns="0" anchor="t"/>
          <a:lstStyle>
            <a:lvl1pPr algn="l">
              <a:defRPr sz="5000">
                <a:solidFill>
                  <a:schemeClr val="accent1">
                    <a:lumMod val="20000"/>
                    <a:lumOff val="80000"/>
                  </a:schemeClr>
                </a:solidFill>
              </a:defRPr>
            </a:lvl1pPr>
          </a:lstStyle>
          <a:p>
            <a:r>
              <a:rPr lang="en-US" dirty="0"/>
              <a:t>Add Title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17604293-CF1F-A295-5586-92D0F86F4A3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371475" y="5733256"/>
            <a:ext cx="5616575" cy="543718"/>
          </a:xfrm>
        </p:spPr>
        <p:txBody>
          <a:bodyPr rIns="0" anchor="b"/>
          <a:lstStyle>
            <a:lvl1pPr marL="0" indent="0" algn="l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None/>
              <a:defRPr sz="1600">
                <a:solidFill>
                  <a:schemeClr val="bg1"/>
                </a:solidFill>
              </a:defRPr>
            </a:lvl1pPr>
            <a:lvl2pPr marL="0" indent="0" algn="l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None/>
              <a:defRPr sz="1400">
                <a:solidFill>
                  <a:schemeClr val="bg1"/>
                </a:solidFill>
              </a:defRPr>
            </a:lvl2pPr>
            <a:lvl3pPr marL="0" indent="0" algn="l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None/>
              <a:defRPr sz="1400">
                <a:solidFill>
                  <a:schemeClr val="bg1"/>
                </a:solidFill>
              </a:defRPr>
            </a:lvl3pPr>
            <a:lvl4pPr marL="0" indent="0" algn="l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None/>
              <a:defRPr sz="1400">
                <a:solidFill>
                  <a:schemeClr val="bg1"/>
                </a:solidFill>
              </a:defRPr>
            </a:lvl4pPr>
            <a:lvl5pPr marL="0" indent="0" algn="l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None/>
              <a:defRPr sz="1400">
                <a:solidFill>
                  <a:schemeClr val="bg1"/>
                </a:solidFill>
              </a:defRPr>
            </a:lvl5pPr>
            <a:lvl6pPr marL="0" indent="0" algn="l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None/>
              <a:defRPr sz="1400">
                <a:solidFill>
                  <a:schemeClr val="bg1"/>
                </a:solidFill>
              </a:defRPr>
            </a:lvl6pPr>
            <a:lvl7pPr marL="0" indent="0" algn="l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None/>
              <a:defRPr sz="1400">
                <a:solidFill>
                  <a:schemeClr val="bg1"/>
                </a:solidFill>
              </a:defRPr>
            </a:lvl7pPr>
            <a:lvl8pPr marL="0" indent="0" algn="l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None/>
              <a:defRPr sz="1400">
                <a:solidFill>
                  <a:schemeClr val="bg1"/>
                </a:solidFill>
              </a:defRPr>
            </a:lvl8pPr>
            <a:lvl9pPr marL="0" indent="0" algn="l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None/>
              <a:defRPr sz="14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Add Subtitle</a:t>
            </a:r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2E52B5CC-CF21-9E7E-CADE-8B782F3AF80F}"/>
              </a:ext>
            </a:extLst>
          </p:cNvPr>
          <p:cNvSpPr/>
          <p:nvPr userDrawn="1"/>
        </p:nvSpPr>
        <p:spPr bwMode="gray">
          <a:xfrm>
            <a:off x="12233756" y="1"/>
            <a:ext cx="1963144" cy="828677"/>
          </a:xfrm>
          <a:prstGeom prst="rect">
            <a:avLst/>
          </a:prstGeom>
          <a:solidFill>
            <a:schemeClr val="bg1"/>
          </a:solidFill>
          <a:ln w="6350"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44000" tIns="144000" rIns="144000" bIns="144000" rtlCol="0" anchor="ctr"/>
          <a:lstStyle/>
          <a:p>
            <a:pPr algn="l"/>
            <a:r>
              <a:rPr lang="en-US" sz="1000" b="1" dirty="0">
                <a:solidFill>
                  <a:schemeClr val="tx1"/>
                </a:solidFill>
              </a:rPr>
              <a:t>Logo Color</a:t>
            </a:r>
          </a:p>
          <a:p>
            <a:pPr algn="l"/>
            <a:r>
              <a:rPr lang="en-US" sz="1000" dirty="0">
                <a:solidFill>
                  <a:schemeClr val="tx1"/>
                </a:solidFill>
              </a:rPr>
              <a:t>For light images,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the logo color can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be changed to black.</a:t>
            </a:r>
          </a:p>
        </p:txBody>
      </p:sp>
      <p:sp>
        <p:nvSpPr>
          <p:cNvPr id="6" name="Datumsplatzhalter 3">
            <a:extLst>
              <a:ext uri="{FF2B5EF4-FFF2-40B4-BE49-F238E27FC236}">
                <a16:creationId xmlns:a16="http://schemas.microsoft.com/office/drawing/2014/main" id="{613673CC-527A-F7FD-F4BB-EFB8EDA92E70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black">
          <a:xfrm>
            <a:off x="0" y="6858000"/>
            <a:ext cx="0" cy="0"/>
          </a:xfrm>
          <a:prstGeom prst="rect">
            <a:avLst/>
          </a:prstGeom>
        </p:spPr>
        <p:txBody>
          <a:bodyPr wrap="none">
            <a:normAutofit/>
          </a:bodyPr>
          <a:lstStyle>
            <a:lvl1pPr>
              <a:defRPr>
                <a:noFill/>
              </a:defRPr>
            </a:lvl1pPr>
          </a:lstStyle>
          <a:p>
            <a:fld id="{2A6BF1E9-0342-46EC-9856-8D917A85838D}" type="datetime3">
              <a:rPr lang="de-DE" smtClean="0"/>
              <a:t>01/07/2025</a:t>
            </a:fld>
            <a:endParaRPr lang="en-US"/>
          </a:p>
        </p:txBody>
      </p:sp>
      <p:sp>
        <p:nvSpPr>
          <p:cNvPr id="7" name="Fußzeilenplatzhalter 4">
            <a:extLst>
              <a:ext uri="{FF2B5EF4-FFF2-40B4-BE49-F238E27FC236}">
                <a16:creationId xmlns:a16="http://schemas.microsoft.com/office/drawing/2014/main" id="{42973810-AFA0-E19F-E5A5-A7F82CD7281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black">
          <a:xfrm>
            <a:off x="0" y="6858000"/>
            <a:ext cx="0" cy="0"/>
          </a:xfrm>
        </p:spPr>
        <p:txBody>
          <a:bodyPr wrap="none">
            <a:normAutofit/>
          </a:bodyPr>
          <a:lstStyle>
            <a:lvl1pPr>
              <a:defRPr sz="100">
                <a:noFill/>
              </a:defRPr>
            </a:lvl1pPr>
          </a:lstStyle>
          <a:p>
            <a:r>
              <a:rPr lang="en-US"/>
              <a:t>Name - Title of Presentation</a:t>
            </a:r>
          </a:p>
        </p:txBody>
      </p:sp>
      <p:sp>
        <p:nvSpPr>
          <p:cNvPr id="8" name="Foliennummernplatzhalter 5">
            <a:extLst>
              <a:ext uri="{FF2B5EF4-FFF2-40B4-BE49-F238E27FC236}">
                <a16:creationId xmlns:a16="http://schemas.microsoft.com/office/drawing/2014/main" id="{51AF4981-2A51-01C8-FC65-7C68623E45B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black">
          <a:xfrm>
            <a:off x="0" y="6858000"/>
            <a:ext cx="0" cy="0"/>
          </a:xfrm>
        </p:spPr>
        <p:txBody>
          <a:bodyPr wrap="none">
            <a:normAutofit/>
          </a:bodyPr>
          <a:lstStyle>
            <a:lvl1pPr>
              <a:defRPr sz="100">
                <a:noFill/>
              </a:defRPr>
            </a:lvl1pPr>
          </a:lstStyle>
          <a:p>
            <a:fld id="{776FC98F-84AD-404B-BCCB-49E092AA6DE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SmartArt-Platzhalter 10">
            <a:extLst>
              <a:ext uri="{FF2B5EF4-FFF2-40B4-BE49-F238E27FC236}">
                <a16:creationId xmlns:a16="http://schemas.microsoft.com/office/drawing/2014/main" id="{B8A25F18-5A38-86C1-D835-316B836320E1}"/>
              </a:ext>
            </a:extLst>
          </p:cNvPr>
          <p:cNvSpPr>
            <a:spLocks noGrp="1" noChangeAspect="1"/>
          </p:cNvSpPr>
          <p:nvPr>
            <p:ph type="dgm" sz="quarter" idx="20" hasCustomPrompt="1"/>
          </p:nvPr>
        </p:nvSpPr>
        <p:spPr bwMode="gray">
          <a:xfrm>
            <a:off x="10710878" y="368661"/>
            <a:ext cx="861983" cy="309203"/>
          </a:xfrm>
          <a:custGeom>
            <a:avLst/>
            <a:gdLst>
              <a:gd name="connsiteX0" fmla="*/ 672615 w 881062"/>
              <a:gd name="connsiteY0" fmla="*/ 316 h 316047"/>
              <a:gd name="connsiteX1" fmla="*/ 881062 w 881062"/>
              <a:gd name="connsiteY1" fmla="*/ 316 h 316047"/>
              <a:gd name="connsiteX2" fmla="*/ 881062 w 881062"/>
              <a:gd name="connsiteY2" fmla="*/ 71315 h 316047"/>
              <a:gd name="connsiteX3" fmla="*/ 820105 w 881062"/>
              <a:gd name="connsiteY3" fmla="*/ 71315 h 316047"/>
              <a:gd name="connsiteX4" fmla="*/ 820105 w 881062"/>
              <a:gd name="connsiteY4" fmla="*/ 316047 h 316047"/>
              <a:gd name="connsiteX5" fmla="*/ 733572 w 881062"/>
              <a:gd name="connsiteY5" fmla="*/ 316047 h 316047"/>
              <a:gd name="connsiteX6" fmla="*/ 733572 w 881062"/>
              <a:gd name="connsiteY6" fmla="*/ 71315 h 316047"/>
              <a:gd name="connsiteX7" fmla="*/ 672615 w 881062"/>
              <a:gd name="connsiteY7" fmla="*/ 71315 h 316047"/>
              <a:gd name="connsiteX8" fmla="*/ 565331 w 881062"/>
              <a:gd name="connsiteY8" fmla="*/ 316 h 316047"/>
              <a:gd name="connsiteX9" fmla="*/ 651859 w 881062"/>
              <a:gd name="connsiteY9" fmla="*/ 316 h 316047"/>
              <a:gd name="connsiteX10" fmla="*/ 651859 w 881062"/>
              <a:gd name="connsiteY10" fmla="*/ 315733 h 316047"/>
              <a:gd name="connsiteX11" fmla="*/ 565331 w 881062"/>
              <a:gd name="connsiteY11" fmla="*/ 315733 h 316047"/>
              <a:gd name="connsiteX12" fmla="*/ 316992 w 881062"/>
              <a:gd name="connsiteY12" fmla="*/ 316 h 316047"/>
              <a:gd name="connsiteX13" fmla="*/ 319603 w 881062"/>
              <a:gd name="connsiteY13" fmla="*/ 316 h 316047"/>
              <a:gd name="connsiteX14" fmla="*/ 319289 w 881062"/>
              <a:gd name="connsiteY14" fmla="*/ 315733 h 316047"/>
              <a:gd name="connsiteX15" fmla="*/ 319243 w 881062"/>
              <a:gd name="connsiteY15" fmla="*/ 315733 h 316047"/>
              <a:gd name="connsiteX16" fmla="*/ 319243 w 881062"/>
              <a:gd name="connsiteY16" fmla="*/ 315729 h 316047"/>
              <a:gd name="connsiteX17" fmla="*/ 0 w 881062"/>
              <a:gd name="connsiteY17" fmla="*/ 315729 h 316047"/>
              <a:gd name="connsiteX18" fmla="*/ 10040 w 881062"/>
              <a:gd name="connsiteY18" fmla="*/ 238565 h 316047"/>
              <a:gd name="connsiteX19" fmla="*/ 319239 w 881062"/>
              <a:gd name="connsiteY19" fmla="*/ 315718 h 316047"/>
              <a:gd name="connsiteX20" fmla="*/ 319236 w 881062"/>
              <a:gd name="connsiteY20" fmla="*/ 315705 h 316047"/>
              <a:gd name="connsiteX21" fmla="*/ 30795 w 881062"/>
              <a:gd name="connsiteY21" fmla="*/ 181522 h 316047"/>
              <a:gd name="connsiteX22" fmla="*/ 72618 w 881062"/>
              <a:gd name="connsiteY22" fmla="*/ 115703 h 316047"/>
              <a:gd name="connsiteX23" fmla="*/ 319230 w 881062"/>
              <a:gd name="connsiteY23" fmla="*/ 315681 h 316047"/>
              <a:gd name="connsiteX24" fmla="*/ 319204 w 881062"/>
              <a:gd name="connsiteY24" fmla="*/ 315579 h 316047"/>
              <a:gd name="connsiteX25" fmla="*/ 118629 w 881062"/>
              <a:gd name="connsiteY25" fmla="*/ 70321 h 316047"/>
              <a:gd name="connsiteX26" fmla="*/ 184766 w 881062"/>
              <a:gd name="connsiteY26" fmla="*/ 29486 h 316047"/>
              <a:gd name="connsiteX27" fmla="*/ 319187 w 881062"/>
              <a:gd name="connsiteY27" fmla="*/ 315512 h 316047"/>
              <a:gd name="connsiteX28" fmla="*/ 242439 w 881062"/>
              <a:gd name="connsiteY28" fmla="*/ 9408 h 316047"/>
              <a:gd name="connsiteX29" fmla="*/ 316992 w 881062"/>
              <a:gd name="connsiteY29" fmla="*/ 316 h 316047"/>
              <a:gd name="connsiteX30" fmla="*/ 450887 w 881062"/>
              <a:gd name="connsiteY30" fmla="*/ 0 h 316047"/>
              <a:gd name="connsiteX31" fmla="*/ 550067 w 881062"/>
              <a:gd name="connsiteY31" fmla="*/ 0 h 316047"/>
              <a:gd name="connsiteX32" fmla="*/ 422343 w 881062"/>
              <a:gd name="connsiteY32" fmla="*/ 158833 h 316047"/>
              <a:gd name="connsiteX33" fmla="*/ 550698 w 881062"/>
              <a:gd name="connsiteY33" fmla="*/ 315733 h 316047"/>
              <a:gd name="connsiteX34" fmla="*/ 454488 w 881062"/>
              <a:gd name="connsiteY34" fmla="*/ 315733 h 316047"/>
              <a:gd name="connsiteX35" fmla="*/ 340045 w 881062"/>
              <a:gd name="connsiteY35" fmla="*/ 192869 h 316047"/>
              <a:gd name="connsiteX36" fmla="*/ 340045 w 881062"/>
              <a:gd name="connsiteY36" fmla="*/ 122548 h 3160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</a:cxnLst>
            <a:rect l="l" t="t" r="r" b="b"/>
            <a:pathLst>
              <a:path w="881062" h="316047">
                <a:moveTo>
                  <a:pt x="672615" y="316"/>
                </a:moveTo>
                <a:lnTo>
                  <a:pt x="881062" y="316"/>
                </a:lnTo>
                <a:lnTo>
                  <a:pt x="881062" y="71315"/>
                </a:lnTo>
                <a:lnTo>
                  <a:pt x="820105" y="71315"/>
                </a:lnTo>
                <a:lnTo>
                  <a:pt x="820105" y="316047"/>
                </a:lnTo>
                <a:lnTo>
                  <a:pt x="733572" y="316047"/>
                </a:lnTo>
                <a:lnTo>
                  <a:pt x="733572" y="71315"/>
                </a:lnTo>
                <a:lnTo>
                  <a:pt x="672615" y="71315"/>
                </a:lnTo>
                <a:close/>
                <a:moveTo>
                  <a:pt x="565331" y="316"/>
                </a:moveTo>
                <a:lnTo>
                  <a:pt x="651859" y="316"/>
                </a:lnTo>
                <a:lnTo>
                  <a:pt x="651859" y="315733"/>
                </a:lnTo>
                <a:lnTo>
                  <a:pt x="565331" y="315733"/>
                </a:lnTo>
                <a:close/>
                <a:moveTo>
                  <a:pt x="316992" y="316"/>
                </a:moveTo>
                <a:lnTo>
                  <a:pt x="319603" y="316"/>
                </a:lnTo>
                <a:lnTo>
                  <a:pt x="319289" y="315733"/>
                </a:lnTo>
                <a:lnTo>
                  <a:pt x="319243" y="315733"/>
                </a:lnTo>
                <a:lnTo>
                  <a:pt x="319243" y="315729"/>
                </a:lnTo>
                <a:lnTo>
                  <a:pt x="0" y="315729"/>
                </a:lnTo>
                <a:cubicBezTo>
                  <a:pt x="314" y="289122"/>
                  <a:pt x="3556" y="263191"/>
                  <a:pt x="10040" y="238565"/>
                </a:cubicBezTo>
                <a:lnTo>
                  <a:pt x="319239" y="315718"/>
                </a:lnTo>
                <a:lnTo>
                  <a:pt x="319236" y="315705"/>
                </a:lnTo>
                <a:lnTo>
                  <a:pt x="30795" y="181522"/>
                </a:lnTo>
                <a:cubicBezTo>
                  <a:pt x="41825" y="157842"/>
                  <a:pt x="56097" y="135780"/>
                  <a:pt x="72618" y="115703"/>
                </a:cubicBezTo>
                <a:lnTo>
                  <a:pt x="319230" y="315681"/>
                </a:lnTo>
                <a:lnTo>
                  <a:pt x="319204" y="315579"/>
                </a:lnTo>
                <a:lnTo>
                  <a:pt x="118629" y="70321"/>
                </a:lnTo>
                <a:cubicBezTo>
                  <a:pt x="138754" y="54114"/>
                  <a:pt x="160770" y="40518"/>
                  <a:pt x="184766" y="29486"/>
                </a:cubicBezTo>
                <a:lnTo>
                  <a:pt x="319187" y="315512"/>
                </a:lnTo>
                <a:lnTo>
                  <a:pt x="242439" y="9408"/>
                </a:lnTo>
                <a:cubicBezTo>
                  <a:pt x="266435" y="3556"/>
                  <a:pt x="291376" y="316"/>
                  <a:pt x="316992" y="316"/>
                </a:cubicBezTo>
                <a:close/>
                <a:moveTo>
                  <a:pt x="450887" y="0"/>
                </a:moveTo>
                <a:lnTo>
                  <a:pt x="550067" y="0"/>
                </a:lnTo>
                <a:lnTo>
                  <a:pt x="422343" y="158833"/>
                </a:lnTo>
                <a:lnTo>
                  <a:pt x="550698" y="315733"/>
                </a:lnTo>
                <a:lnTo>
                  <a:pt x="454488" y="315733"/>
                </a:lnTo>
                <a:lnTo>
                  <a:pt x="340045" y="192869"/>
                </a:lnTo>
                <a:lnTo>
                  <a:pt x="340045" y="122548"/>
                </a:lnTo>
                <a:close/>
              </a:path>
            </a:pathLst>
          </a:custGeom>
          <a:solidFill>
            <a:schemeClr val="bg1"/>
          </a:solidFill>
        </p:spPr>
        <p:txBody>
          <a:bodyPr wrap="none">
            <a:noAutofit/>
          </a:bodyPr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r>
              <a:rPr lang="en-US" noProof="1"/>
              <a:t> dsafasdfadsfdsfasdfsadfasdfadsf sdaf asdfasdf</a:t>
            </a:r>
          </a:p>
        </p:txBody>
      </p:sp>
    </p:spTree>
    <p:extLst>
      <p:ext uri="{BB962C8B-B14F-4D97-AF65-F5344CB8AC3E}">
        <p14:creationId xmlns:p14="http://schemas.microsoft.com/office/powerpoint/2010/main" val="3922738252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x Text und 3x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platzhalter 7">
            <a:extLst>
              <a:ext uri="{FF2B5EF4-FFF2-40B4-BE49-F238E27FC236}">
                <a16:creationId xmlns:a16="http://schemas.microsoft.com/office/drawing/2014/main" id="{7B8292EB-A174-4AF5-E760-21B84099238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371475" y="5265738"/>
            <a:ext cx="3671889" cy="1011236"/>
          </a:xfrm>
        </p:spPr>
        <p:txBody>
          <a:bodyPr/>
          <a:lstStyle/>
          <a:p>
            <a:pPr lvl="0"/>
            <a:r>
              <a:rPr lang="en-US" dirty="0"/>
              <a:t>Add text</a:t>
            </a:r>
          </a:p>
        </p:txBody>
      </p:sp>
      <p:sp>
        <p:nvSpPr>
          <p:cNvPr id="7" name="Bildplatzhalter 15">
            <a:extLst>
              <a:ext uri="{FF2B5EF4-FFF2-40B4-BE49-F238E27FC236}">
                <a16:creationId xmlns:a16="http://schemas.microsoft.com/office/drawing/2014/main" id="{3D7FEBCC-B6B1-D6F4-B8C4-39CAEC3BF559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371474" y="1592263"/>
            <a:ext cx="3671889" cy="3457575"/>
          </a:xfrm>
        </p:spPr>
        <p:txBody>
          <a:bodyPr tIns="900000" anchor="ctr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00"/>
            </a:lvl1pPr>
          </a:lstStyle>
          <a:p>
            <a:r>
              <a:rPr lang="en-US" dirty="0"/>
              <a:t>Insert picture by clicking on the symbol. </a:t>
            </a:r>
            <a:br>
              <a:rPr lang="en-US" dirty="0"/>
            </a:br>
            <a:br>
              <a:rPr lang="en-US" dirty="0"/>
            </a:br>
            <a:r>
              <a:rPr lang="en-US" dirty="0"/>
              <a:t>Alternatively, copy the image to the clipboard,</a:t>
            </a:r>
            <a:br>
              <a:rPr lang="en-US" dirty="0"/>
            </a:br>
            <a:r>
              <a:rPr lang="en-US" dirty="0"/>
              <a:t> select the placeholder and paste the image.</a:t>
            </a:r>
          </a:p>
        </p:txBody>
      </p:sp>
      <p:sp>
        <p:nvSpPr>
          <p:cNvPr id="3" name="Bildplatzhalter 15">
            <a:extLst>
              <a:ext uri="{FF2B5EF4-FFF2-40B4-BE49-F238E27FC236}">
                <a16:creationId xmlns:a16="http://schemas.microsoft.com/office/drawing/2014/main" id="{CD8BE5C1-5277-9F0D-214B-6BE9AC8AC9F3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4260848" y="1592263"/>
            <a:ext cx="3671889" cy="3457575"/>
          </a:xfrm>
        </p:spPr>
        <p:txBody>
          <a:bodyPr tIns="900000" anchor="ctr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00"/>
            </a:lvl1pPr>
          </a:lstStyle>
          <a:p>
            <a:r>
              <a:rPr lang="en-US" dirty="0"/>
              <a:t>Insert picture by clicking on the symbol. </a:t>
            </a:r>
            <a:br>
              <a:rPr lang="en-US" dirty="0"/>
            </a:br>
            <a:br>
              <a:rPr lang="en-US" dirty="0"/>
            </a:br>
            <a:r>
              <a:rPr lang="en-US" dirty="0"/>
              <a:t>Alternatively, copy the image to the clipboard,</a:t>
            </a:r>
            <a:br>
              <a:rPr lang="en-US" dirty="0"/>
            </a:br>
            <a:r>
              <a:rPr lang="en-US" dirty="0"/>
              <a:t> select the placeholder and paste the image.</a:t>
            </a:r>
          </a:p>
        </p:txBody>
      </p:sp>
      <p:sp>
        <p:nvSpPr>
          <p:cNvPr id="9" name="Titel 8">
            <a:extLst>
              <a:ext uri="{FF2B5EF4-FFF2-40B4-BE49-F238E27FC236}">
                <a16:creationId xmlns:a16="http://schemas.microsoft.com/office/drawing/2014/main" id="{6D2788FA-E004-70D7-3A51-569E0F2546A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Add Title</a:t>
            </a:r>
          </a:p>
        </p:txBody>
      </p:sp>
      <p:sp>
        <p:nvSpPr>
          <p:cNvPr id="10" name="Textplatzhalter 7">
            <a:extLst>
              <a:ext uri="{FF2B5EF4-FFF2-40B4-BE49-F238E27FC236}">
                <a16:creationId xmlns:a16="http://schemas.microsoft.com/office/drawing/2014/main" id="{EEEB74CB-203B-02FC-976A-B40F94BCE8A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4260849" y="5265738"/>
            <a:ext cx="3671889" cy="1011236"/>
          </a:xfrm>
        </p:spPr>
        <p:txBody>
          <a:bodyPr/>
          <a:lstStyle/>
          <a:p>
            <a:pPr lvl="0"/>
            <a:r>
              <a:rPr lang="en-US" dirty="0"/>
              <a:t>Add text</a:t>
            </a:r>
          </a:p>
        </p:txBody>
      </p:sp>
      <p:sp>
        <p:nvSpPr>
          <p:cNvPr id="2" name="Bildplatzhalter 15">
            <a:extLst>
              <a:ext uri="{FF2B5EF4-FFF2-40B4-BE49-F238E27FC236}">
                <a16:creationId xmlns:a16="http://schemas.microsoft.com/office/drawing/2014/main" id="{F8AC44F9-1F23-6873-474A-BE0A023DEAD7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 bwMode="gray">
          <a:xfrm>
            <a:off x="8148638" y="1592263"/>
            <a:ext cx="3671889" cy="3457575"/>
          </a:xfrm>
        </p:spPr>
        <p:txBody>
          <a:bodyPr tIns="900000" anchor="ctr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00"/>
            </a:lvl1pPr>
          </a:lstStyle>
          <a:p>
            <a:r>
              <a:rPr lang="en-US" dirty="0"/>
              <a:t>Insert picture by clicking on the symbol. </a:t>
            </a:r>
            <a:br>
              <a:rPr lang="en-US" dirty="0"/>
            </a:br>
            <a:br>
              <a:rPr lang="en-US" dirty="0"/>
            </a:br>
            <a:r>
              <a:rPr lang="en-US" dirty="0"/>
              <a:t>Alternatively, copy the image to the clipboard,</a:t>
            </a:r>
            <a:br>
              <a:rPr lang="en-US" dirty="0"/>
            </a:br>
            <a:r>
              <a:rPr lang="en-US" dirty="0"/>
              <a:t> select the placeholder and paste the image.</a:t>
            </a:r>
          </a:p>
        </p:txBody>
      </p:sp>
      <p:sp>
        <p:nvSpPr>
          <p:cNvPr id="11" name="Textplatzhalter 7">
            <a:extLst>
              <a:ext uri="{FF2B5EF4-FFF2-40B4-BE49-F238E27FC236}">
                <a16:creationId xmlns:a16="http://schemas.microsoft.com/office/drawing/2014/main" id="{EADE0E58-96C3-B4F9-7508-58B7536F7C7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8148639" y="5265738"/>
            <a:ext cx="3671889" cy="1011236"/>
          </a:xfrm>
        </p:spPr>
        <p:txBody>
          <a:bodyPr/>
          <a:lstStyle/>
          <a:p>
            <a:pPr lvl="0"/>
            <a:r>
              <a:rPr lang="en-US" dirty="0"/>
              <a:t>Add text</a:t>
            </a:r>
          </a:p>
        </p:txBody>
      </p:sp>
      <p:sp>
        <p:nvSpPr>
          <p:cNvPr id="12" name="Datumsplatzhalter 11">
            <a:extLst>
              <a:ext uri="{FF2B5EF4-FFF2-40B4-BE49-F238E27FC236}">
                <a16:creationId xmlns:a16="http://schemas.microsoft.com/office/drawing/2014/main" id="{CDF1D0DD-152A-CD72-F7A9-948FA54C7916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40210641-C560-46CB-B39D-241E6A4EF321}" type="datetime3">
              <a:rPr lang="de-DE" smtClean="0"/>
              <a:t>01/07/2025</a:t>
            </a:fld>
            <a:endParaRPr lang="en-US" dirty="0"/>
          </a:p>
        </p:txBody>
      </p:sp>
      <p:sp>
        <p:nvSpPr>
          <p:cNvPr id="13" name="Fußzeilenplatzhalter 12">
            <a:extLst>
              <a:ext uri="{FF2B5EF4-FFF2-40B4-BE49-F238E27FC236}">
                <a16:creationId xmlns:a16="http://schemas.microsoft.com/office/drawing/2014/main" id="{10188A5A-13A0-E431-44B3-E58A8A6D0DD6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US"/>
              <a:t>Name - Title of Presentation</a:t>
            </a:r>
            <a:endParaRPr lang="en-US" dirty="0"/>
          </a:p>
        </p:txBody>
      </p:sp>
      <p:sp>
        <p:nvSpPr>
          <p:cNvPr id="14" name="Foliennummernplatzhalter 13">
            <a:extLst>
              <a:ext uri="{FF2B5EF4-FFF2-40B4-BE49-F238E27FC236}">
                <a16:creationId xmlns:a16="http://schemas.microsoft.com/office/drawing/2014/main" id="{79C41ECA-AF89-1BAD-40AE-C421974015D2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776FC98F-84AD-404B-BCCB-49E092AA6DE0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34395132"/>
      </p:ext>
    </p:extLst>
  </p:cSld>
  <p:clrMapOvr>
    <a:masterClrMapping/>
  </p:clrMapOvr>
  <p:transition>
    <p:fade/>
  </p:transition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x Text und 4x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platzhalter 7">
            <a:extLst>
              <a:ext uri="{FF2B5EF4-FFF2-40B4-BE49-F238E27FC236}">
                <a16:creationId xmlns:a16="http://schemas.microsoft.com/office/drawing/2014/main" id="{7B8292EB-A174-4AF5-E760-21B84099238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371476" y="5265738"/>
            <a:ext cx="2700338" cy="1011236"/>
          </a:xfrm>
        </p:spPr>
        <p:txBody>
          <a:bodyPr/>
          <a:lstStyle/>
          <a:p>
            <a:pPr lvl="0"/>
            <a:r>
              <a:rPr lang="en-US" dirty="0"/>
              <a:t>Add text</a:t>
            </a:r>
          </a:p>
        </p:txBody>
      </p:sp>
      <p:sp>
        <p:nvSpPr>
          <p:cNvPr id="7" name="Bildplatzhalter 15">
            <a:extLst>
              <a:ext uri="{FF2B5EF4-FFF2-40B4-BE49-F238E27FC236}">
                <a16:creationId xmlns:a16="http://schemas.microsoft.com/office/drawing/2014/main" id="{3D7FEBCC-B6B1-D6F4-B8C4-39CAEC3BF559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371475" y="1592263"/>
            <a:ext cx="2700338" cy="3457575"/>
          </a:xfrm>
        </p:spPr>
        <p:txBody>
          <a:bodyPr tIns="900000" anchor="ctr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00"/>
            </a:lvl1pPr>
          </a:lstStyle>
          <a:p>
            <a:r>
              <a:rPr lang="en-US" dirty="0"/>
              <a:t>Insert picture by clicking on the symbol. </a:t>
            </a:r>
            <a:br>
              <a:rPr lang="en-US" dirty="0"/>
            </a:br>
            <a:br>
              <a:rPr lang="en-US" dirty="0"/>
            </a:br>
            <a:r>
              <a:rPr lang="en-US" dirty="0"/>
              <a:t>Alternatively, copy the image to the clipboard,</a:t>
            </a:r>
            <a:br>
              <a:rPr lang="en-US" dirty="0"/>
            </a:br>
            <a:r>
              <a:rPr lang="en-US" dirty="0"/>
              <a:t> select the placeholder and paste the image.</a:t>
            </a:r>
          </a:p>
        </p:txBody>
      </p:sp>
      <p:sp>
        <p:nvSpPr>
          <p:cNvPr id="3" name="Bildplatzhalter 15">
            <a:extLst>
              <a:ext uri="{FF2B5EF4-FFF2-40B4-BE49-F238E27FC236}">
                <a16:creationId xmlns:a16="http://schemas.microsoft.com/office/drawing/2014/main" id="{CD8BE5C1-5277-9F0D-214B-6BE9AC8AC9F3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3285826" y="1592263"/>
            <a:ext cx="2700338" cy="3457575"/>
          </a:xfrm>
        </p:spPr>
        <p:txBody>
          <a:bodyPr tIns="900000" anchor="ctr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00"/>
            </a:lvl1pPr>
          </a:lstStyle>
          <a:p>
            <a:r>
              <a:rPr lang="en-US" dirty="0"/>
              <a:t>Insert picture by clicking on the symbol. </a:t>
            </a:r>
            <a:br>
              <a:rPr lang="en-US" dirty="0"/>
            </a:br>
            <a:br>
              <a:rPr lang="en-US" dirty="0"/>
            </a:br>
            <a:r>
              <a:rPr lang="en-US" dirty="0"/>
              <a:t>Alternatively, copy the image to the clipboard,</a:t>
            </a:r>
            <a:br>
              <a:rPr lang="en-US" dirty="0"/>
            </a:br>
            <a:r>
              <a:rPr lang="en-US" dirty="0"/>
              <a:t> select the placeholder and paste the image.</a:t>
            </a:r>
          </a:p>
        </p:txBody>
      </p:sp>
      <p:sp>
        <p:nvSpPr>
          <p:cNvPr id="9" name="Titel 8">
            <a:extLst>
              <a:ext uri="{FF2B5EF4-FFF2-40B4-BE49-F238E27FC236}">
                <a16:creationId xmlns:a16="http://schemas.microsoft.com/office/drawing/2014/main" id="{6D2788FA-E004-70D7-3A51-569E0F2546A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Add Title</a:t>
            </a:r>
          </a:p>
        </p:txBody>
      </p:sp>
      <p:sp>
        <p:nvSpPr>
          <p:cNvPr id="10" name="Textplatzhalter 7">
            <a:extLst>
              <a:ext uri="{FF2B5EF4-FFF2-40B4-BE49-F238E27FC236}">
                <a16:creationId xmlns:a16="http://schemas.microsoft.com/office/drawing/2014/main" id="{EEEB74CB-203B-02FC-976A-B40F94BCE8A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285827" y="5265738"/>
            <a:ext cx="2700338" cy="1011236"/>
          </a:xfrm>
        </p:spPr>
        <p:txBody>
          <a:bodyPr/>
          <a:lstStyle/>
          <a:p>
            <a:pPr lvl="0"/>
            <a:r>
              <a:rPr lang="en-US" dirty="0"/>
              <a:t>Add text</a:t>
            </a:r>
          </a:p>
        </p:txBody>
      </p:sp>
      <p:sp>
        <p:nvSpPr>
          <p:cNvPr id="2" name="Bildplatzhalter 15">
            <a:extLst>
              <a:ext uri="{FF2B5EF4-FFF2-40B4-BE49-F238E27FC236}">
                <a16:creationId xmlns:a16="http://schemas.microsoft.com/office/drawing/2014/main" id="{F8AC44F9-1F23-6873-474A-BE0A023DEAD7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 bwMode="gray">
          <a:xfrm>
            <a:off x="6205686" y="1592263"/>
            <a:ext cx="2700338" cy="3457575"/>
          </a:xfrm>
        </p:spPr>
        <p:txBody>
          <a:bodyPr tIns="900000" anchor="ctr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00"/>
            </a:lvl1pPr>
          </a:lstStyle>
          <a:p>
            <a:r>
              <a:rPr lang="en-US" dirty="0"/>
              <a:t>Insert picture by clicking on the symbol. </a:t>
            </a:r>
            <a:br>
              <a:rPr lang="en-US" dirty="0"/>
            </a:br>
            <a:br>
              <a:rPr lang="en-US" dirty="0"/>
            </a:br>
            <a:r>
              <a:rPr lang="en-US" dirty="0"/>
              <a:t>Alternatively, copy the image to the clipboard,</a:t>
            </a:r>
            <a:br>
              <a:rPr lang="en-US" dirty="0"/>
            </a:br>
            <a:r>
              <a:rPr lang="en-US" dirty="0"/>
              <a:t> select the placeholder and paste the image.</a:t>
            </a:r>
          </a:p>
        </p:txBody>
      </p:sp>
      <p:sp>
        <p:nvSpPr>
          <p:cNvPr id="11" name="Textplatzhalter 7">
            <a:extLst>
              <a:ext uri="{FF2B5EF4-FFF2-40B4-BE49-F238E27FC236}">
                <a16:creationId xmlns:a16="http://schemas.microsoft.com/office/drawing/2014/main" id="{EADE0E58-96C3-B4F9-7508-58B7536F7C7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6205687" y="5265738"/>
            <a:ext cx="2700338" cy="1011236"/>
          </a:xfrm>
        </p:spPr>
        <p:txBody>
          <a:bodyPr/>
          <a:lstStyle/>
          <a:p>
            <a:pPr lvl="0"/>
            <a:r>
              <a:rPr lang="en-US" dirty="0"/>
              <a:t>Add text</a:t>
            </a:r>
          </a:p>
        </p:txBody>
      </p:sp>
      <p:sp>
        <p:nvSpPr>
          <p:cNvPr id="12" name="Bildplatzhalter 15">
            <a:extLst>
              <a:ext uri="{FF2B5EF4-FFF2-40B4-BE49-F238E27FC236}">
                <a16:creationId xmlns:a16="http://schemas.microsoft.com/office/drawing/2014/main" id="{C4D4B916-72EE-D72A-5C96-51535BE77B09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 bwMode="gray">
          <a:xfrm>
            <a:off x="9120186" y="1592263"/>
            <a:ext cx="2700338" cy="3457575"/>
          </a:xfrm>
        </p:spPr>
        <p:txBody>
          <a:bodyPr tIns="900000" anchor="ctr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00"/>
            </a:lvl1pPr>
          </a:lstStyle>
          <a:p>
            <a:r>
              <a:rPr lang="en-US" dirty="0"/>
              <a:t>Insert picture by clicking on the symbol. </a:t>
            </a:r>
            <a:br>
              <a:rPr lang="en-US" dirty="0"/>
            </a:br>
            <a:br>
              <a:rPr lang="en-US" dirty="0"/>
            </a:br>
            <a:r>
              <a:rPr lang="en-US" dirty="0"/>
              <a:t>Alternatively, copy the image to the clipboard,</a:t>
            </a:r>
            <a:br>
              <a:rPr lang="en-US" dirty="0"/>
            </a:br>
            <a:r>
              <a:rPr lang="en-US" dirty="0"/>
              <a:t> select the placeholder and paste the image.</a:t>
            </a:r>
          </a:p>
        </p:txBody>
      </p:sp>
      <p:sp>
        <p:nvSpPr>
          <p:cNvPr id="13" name="Textplatzhalter 7">
            <a:extLst>
              <a:ext uri="{FF2B5EF4-FFF2-40B4-BE49-F238E27FC236}">
                <a16:creationId xmlns:a16="http://schemas.microsoft.com/office/drawing/2014/main" id="{37F1E17B-BC6D-5885-9A9E-8DFC4EE2BF90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9120187" y="5265738"/>
            <a:ext cx="2700338" cy="1011236"/>
          </a:xfrm>
        </p:spPr>
        <p:txBody>
          <a:bodyPr/>
          <a:lstStyle/>
          <a:p>
            <a:pPr lvl="0"/>
            <a:r>
              <a:rPr lang="en-US" dirty="0"/>
              <a:t>Add text</a:t>
            </a:r>
          </a:p>
        </p:txBody>
      </p:sp>
      <p:sp>
        <p:nvSpPr>
          <p:cNvPr id="14" name="Datumsplatzhalter 13">
            <a:extLst>
              <a:ext uri="{FF2B5EF4-FFF2-40B4-BE49-F238E27FC236}">
                <a16:creationId xmlns:a16="http://schemas.microsoft.com/office/drawing/2014/main" id="{15DC6279-864D-E5B0-0BBF-962E9E50B6FD}"/>
              </a:ext>
            </a:extLst>
          </p:cNvPr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fld id="{29E44D78-8D7F-4054-A29E-E8012BDBCFE6}" type="datetime3">
              <a:rPr lang="de-DE" smtClean="0"/>
              <a:t>01/07/2025</a:t>
            </a:fld>
            <a:endParaRPr lang="en-US" dirty="0"/>
          </a:p>
        </p:txBody>
      </p:sp>
      <p:sp>
        <p:nvSpPr>
          <p:cNvPr id="15" name="Fußzeilenplatzhalter 14">
            <a:extLst>
              <a:ext uri="{FF2B5EF4-FFF2-40B4-BE49-F238E27FC236}">
                <a16:creationId xmlns:a16="http://schemas.microsoft.com/office/drawing/2014/main" id="{3CF6C9B7-B599-4BE6-52FB-051D2A0B3B42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Name - Title of Presentation</a:t>
            </a:r>
            <a:endParaRPr lang="en-US" dirty="0"/>
          </a:p>
        </p:txBody>
      </p:sp>
      <p:sp>
        <p:nvSpPr>
          <p:cNvPr id="16" name="Foliennummernplatzhalter 15">
            <a:extLst>
              <a:ext uri="{FF2B5EF4-FFF2-40B4-BE49-F238E27FC236}">
                <a16:creationId xmlns:a16="http://schemas.microsoft.com/office/drawing/2014/main" id="{9EAF3799-0F9B-7F03-53B6-D30505ED8E7B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776FC98F-84AD-404B-BCCB-49E092AA6DE0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51697891"/>
      </p:ext>
    </p:extLst>
  </p:cSld>
  <p:clrMapOvr>
    <a:masterClrMapping/>
  </p:clrMapOvr>
  <p:transition>
    <p:fade/>
  </p:transition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x Text und 5x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platzhalter 7">
            <a:extLst>
              <a:ext uri="{FF2B5EF4-FFF2-40B4-BE49-F238E27FC236}">
                <a16:creationId xmlns:a16="http://schemas.microsoft.com/office/drawing/2014/main" id="{7B8292EB-A174-4AF5-E760-21B84099238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371476" y="4041775"/>
            <a:ext cx="2116800" cy="2235199"/>
          </a:xfrm>
        </p:spPr>
        <p:txBody>
          <a:bodyPr/>
          <a:lstStyle/>
          <a:p>
            <a:pPr lvl="0"/>
            <a:r>
              <a:rPr lang="en-US" dirty="0"/>
              <a:t>Add text</a:t>
            </a:r>
          </a:p>
        </p:txBody>
      </p:sp>
      <p:sp>
        <p:nvSpPr>
          <p:cNvPr id="7" name="Bildplatzhalter 15">
            <a:extLst>
              <a:ext uri="{FF2B5EF4-FFF2-40B4-BE49-F238E27FC236}">
                <a16:creationId xmlns:a16="http://schemas.microsoft.com/office/drawing/2014/main" id="{3D7FEBCC-B6B1-D6F4-B8C4-39CAEC3BF559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371475" y="1592263"/>
            <a:ext cx="2116800" cy="2232025"/>
          </a:xfrm>
        </p:spPr>
        <p:txBody>
          <a:bodyPr tIns="900000" anchor="ctr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700"/>
            </a:lvl1pPr>
          </a:lstStyle>
          <a:p>
            <a:r>
              <a:rPr lang="en-US" dirty="0"/>
              <a:t>Insert picture by clicking on the symbol. </a:t>
            </a:r>
            <a:br>
              <a:rPr lang="en-US" dirty="0"/>
            </a:br>
            <a:br>
              <a:rPr lang="en-US" dirty="0"/>
            </a:br>
            <a:r>
              <a:rPr lang="en-US" dirty="0"/>
              <a:t>Alternatively, copy the image to the clipboard,</a:t>
            </a:r>
            <a:br>
              <a:rPr lang="en-US" dirty="0"/>
            </a:br>
            <a:r>
              <a:rPr lang="en-US" dirty="0"/>
              <a:t> select the placeholder and paste the image.</a:t>
            </a:r>
          </a:p>
        </p:txBody>
      </p:sp>
      <p:sp>
        <p:nvSpPr>
          <p:cNvPr id="3" name="Bildplatzhalter 15">
            <a:extLst>
              <a:ext uri="{FF2B5EF4-FFF2-40B4-BE49-F238E27FC236}">
                <a16:creationId xmlns:a16="http://schemas.microsoft.com/office/drawing/2014/main" id="{CD8BE5C1-5277-9F0D-214B-6BE9AC8AC9F3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2704537" y="1592263"/>
            <a:ext cx="2116800" cy="2232025"/>
          </a:xfrm>
        </p:spPr>
        <p:txBody>
          <a:bodyPr tIns="900000" anchor="ctr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700"/>
            </a:lvl1pPr>
          </a:lstStyle>
          <a:p>
            <a:r>
              <a:rPr lang="en-US" dirty="0"/>
              <a:t>Insert picture by clicking on the symbol. </a:t>
            </a:r>
            <a:br>
              <a:rPr lang="en-US" dirty="0"/>
            </a:br>
            <a:br>
              <a:rPr lang="en-US" dirty="0"/>
            </a:br>
            <a:r>
              <a:rPr lang="en-US" dirty="0"/>
              <a:t>Alternatively, copy the image to the clipboard,</a:t>
            </a:r>
            <a:br>
              <a:rPr lang="en-US" dirty="0"/>
            </a:br>
            <a:r>
              <a:rPr lang="en-US" dirty="0"/>
              <a:t> select the placeholder and paste the image.</a:t>
            </a:r>
          </a:p>
        </p:txBody>
      </p:sp>
      <p:sp>
        <p:nvSpPr>
          <p:cNvPr id="9" name="Titel 8">
            <a:extLst>
              <a:ext uri="{FF2B5EF4-FFF2-40B4-BE49-F238E27FC236}">
                <a16:creationId xmlns:a16="http://schemas.microsoft.com/office/drawing/2014/main" id="{6D2788FA-E004-70D7-3A51-569E0F2546A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71475" y="368907"/>
            <a:ext cx="11449050" cy="1007455"/>
          </a:xfrm>
        </p:spPr>
        <p:txBody>
          <a:bodyPr/>
          <a:lstStyle/>
          <a:p>
            <a:r>
              <a:rPr lang="en-US" dirty="0"/>
              <a:t>Add Title</a:t>
            </a:r>
          </a:p>
        </p:txBody>
      </p:sp>
      <p:sp>
        <p:nvSpPr>
          <p:cNvPr id="10" name="Textplatzhalter 7">
            <a:extLst>
              <a:ext uri="{FF2B5EF4-FFF2-40B4-BE49-F238E27FC236}">
                <a16:creationId xmlns:a16="http://schemas.microsoft.com/office/drawing/2014/main" id="{EEEB74CB-203B-02FC-976A-B40F94BCE8A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4538" y="4041775"/>
            <a:ext cx="2116800" cy="2235199"/>
          </a:xfrm>
        </p:spPr>
        <p:txBody>
          <a:bodyPr/>
          <a:lstStyle/>
          <a:p>
            <a:pPr lvl="0"/>
            <a:r>
              <a:rPr lang="en-US" dirty="0"/>
              <a:t>Add text</a:t>
            </a:r>
          </a:p>
        </p:txBody>
      </p:sp>
      <p:sp>
        <p:nvSpPr>
          <p:cNvPr id="2" name="Bildplatzhalter 15">
            <a:extLst>
              <a:ext uri="{FF2B5EF4-FFF2-40B4-BE49-F238E27FC236}">
                <a16:creationId xmlns:a16="http://schemas.microsoft.com/office/drawing/2014/main" id="{F8AC44F9-1F23-6873-474A-BE0A023DEAD7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 bwMode="gray">
          <a:xfrm>
            <a:off x="5037599" y="1592263"/>
            <a:ext cx="2116800" cy="2232025"/>
          </a:xfrm>
        </p:spPr>
        <p:txBody>
          <a:bodyPr tIns="900000" anchor="ctr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700"/>
            </a:lvl1pPr>
          </a:lstStyle>
          <a:p>
            <a:r>
              <a:rPr lang="en-US" dirty="0"/>
              <a:t>Insert picture by clicking on the symbol. </a:t>
            </a:r>
            <a:br>
              <a:rPr lang="en-US" dirty="0"/>
            </a:br>
            <a:br>
              <a:rPr lang="en-US" dirty="0"/>
            </a:br>
            <a:r>
              <a:rPr lang="en-US" dirty="0"/>
              <a:t>Alternatively, copy the image to the clipboard,</a:t>
            </a:r>
            <a:br>
              <a:rPr lang="en-US" dirty="0"/>
            </a:br>
            <a:r>
              <a:rPr lang="en-US" dirty="0"/>
              <a:t> select the placeholder and paste the image.</a:t>
            </a:r>
          </a:p>
        </p:txBody>
      </p:sp>
      <p:sp>
        <p:nvSpPr>
          <p:cNvPr id="11" name="Textplatzhalter 7">
            <a:extLst>
              <a:ext uri="{FF2B5EF4-FFF2-40B4-BE49-F238E27FC236}">
                <a16:creationId xmlns:a16="http://schemas.microsoft.com/office/drawing/2014/main" id="{EADE0E58-96C3-B4F9-7508-58B7536F7C7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5037600" y="4041775"/>
            <a:ext cx="2116800" cy="2235199"/>
          </a:xfrm>
        </p:spPr>
        <p:txBody>
          <a:bodyPr/>
          <a:lstStyle/>
          <a:p>
            <a:pPr lvl="0"/>
            <a:r>
              <a:rPr lang="en-US" dirty="0"/>
              <a:t>Add text</a:t>
            </a:r>
          </a:p>
        </p:txBody>
      </p:sp>
      <p:sp>
        <p:nvSpPr>
          <p:cNvPr id="12" name="Bildplatzhalter 15">
            <a:extLst>
              <a:ext uri="{FF2B5EF4-FFF2-40B4-BE49-F238E27FC236}">
                <a16:creationId xmlns:a16="http://schemas.microsoft.com/office/drawing/2014/main" id="{C4D4B916-72EE-D72A-5C96-51535BE77B09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 bwMode="gray">
          <a:xfrm>
            <a:off x="7370661" y="1592263"/>
            <a:ext cx="2116800" cy="2232025"/>
          </a:xfrm>
        </p:spPr>
        <p:txBody>
          <a:bodyPr tIns="900000" anchor="ctr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700"/>
            </a:lvl1pPr>
          </a:lstStyle>
          <a:p>
            <a:r>
              <a:rPr lang="en-US" dirty="0"/>
              <a:t>Insert picture by clicking on the symbol. </a:t>
            </a:r>
            <a:br>
              <a:rPr lang="en-US" dirty="0"/>
            </a:br>
            <a:br>
              <a:rPr lang="en-US" dirty="0"/>
            </a:br>
            <a:r>
              <a:rPr lang="en-US" dirty="0"/>
              <a:t>Alternatively, copy the image to the clipboard,</a:t>
            </a:r>
            <a:br>
              <a:rPr lang="en-US" dirty="0"/>
            </a:br>
            <a:r>
              <a:rPr lang="en-US" dirty="0"/>
              <a:t> select the placeholder and paste the image.</a:t>
            </a:r>
          </a:p>
        </p:txBody>
      </p:sp>
      <p:sp>
        <p:nvSpPr>
          <p:cNvPr id="13" name="Textplatzhalter 7">
            <a:extLst>
              <a:ext uri="{FF2B5EF4-FFF2-40B4-BE49-F238E27FC236}">
                <a16:creationId xmlns:a16="http://schemas.microsoft.com/office/drawing/2014/main" id="{37F1E17B-BC6D-5885-9A9E-8DFC4EE2BF90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7370662" y="4041775"/>
            <a:ext cx="2116800" cy="2235199"/>
          </a:xfrm>
        </p:spPr>
        <p:txBody>
          <a:bodyPr/>
          <a:lstStyle/>
          <a:p>
            <a:pPr lvl="0"/>
            <a:r>
              <a:rPr lang="en-US" dirty="0"/>
              <a:t>Add text</a:t>
            </a:r>
          </a:p>
        </p:txBody>
      </p:sp>
      <p:sp>
        <p:nvSpPr>
          <p:cNvPr id="14" name="Bildplatzhalter 15">
            <a:extLst>
              <a:ext uri="{FF2B5EF4-FFF2-40B4-BE49-F238E27FC236}">
                <a16:creationId xmlns:a16="http://schemas.microsoft.com/office/drawing/2014/main" id="{290663F7-C01E-A524-14EE-F495697580C4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 bwMode="gray">
          <a:xfrm>
            <a:off x="9703724" y="1592263"/>
            <a:ext cx="2116800" cy="2232025"/>
          </a:xfrm>
        </p:spPr>
        <p:txBody>
          <a:bodyPr tIns="900000" anchor="ctr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700"/>
            </a:lvl1pPr>
          </a:lstStyle>
          <a:p>
            <a:r>
              <a:rPr lang="en-US" dirty="0"/>
              <a:t>Insert picture by clicking on the symbol. </a:t>
            </a:r>
            <a:br>
              <a:rPr lang="en-US" dirty="0"/>
            </a:br>
            <a:br>
              <a:rPr lang="en-US" dirty="0"/>
            </a:br>
            <a:r>
              <a:rPr lang="en-US" dirty="0"/>
              <a:t>Alternatively, copy the image to the clipboard,</a:t>
            </a:r>
            <a:br>
              <a:rPr lang="en-US" dirty="0"/>
            </a:br>
            <a:r>
              <a:rPr lang="en-US" dirty="0"/>
              <a:t> select the placeholder and paste the image.</a:t>
            </a:r>
          </a:p>
        </p:txBody>
      </p:sp>
      <p:sp>
        <p:nvSpPr>
          <p:cNvPr id="15" name="Textplatzhalter 7">
            <a:extLst>
              <a:ext uri="{FF2B5EF4-FFF2-40B4-BE49-F238E27FC236}">
                <a16:creationId xmlns:a16="http://schemas.microsoft.com/office/drawing/2014/main" id="{4A722441-C52C-1DE3-6900-FAF58B44C943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9703725" y="4041775"/>
            <a:ext cx="2116800" cy="2235199"/>
          </a:xfrm>
        </p:spPr>
        <p:txBody>
          <a:bodyPr/>
          <a:lstStyle/>
          <a:p>
            <a:pPr lvl="0"/>
            <a:r>
              <a:rPr lang="en-US" dirty="0"/>
              <a:t>Add text</a:t>
            </a:r>
          </a:p>
        </p:txBody>
      </p:sp>
      <p:sp>
        <p:nvSpPr>
          <p:cNvPr id="16" name="Datumsplatzhalter 15">
            <a:extLst>
              <a:ext uri="{FF2B5EF4-FFF2-40B4-BE49-F238E27FC236}">
                <a16:creationId xmlns:a16="http://schemas.microsoft.com/office/drawing/2014/main" id="{99193BC6-5DE5-F84B-817B-E27F95FD4E36}"/>
              </a:ext>
            </a:extLst>
          </p:cNvPr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fld id="{E0D45406-601B-409E-AA0B-826FBBC4490C}" type="datetime3">
              <a:rPr lang="de-DE" smtClean="0"/>
              <a:t>01/07/2025</a:t>
            </a:fld>
            <a:endParaRPr lang="en-US" dirty="0"/>
          </a:p>
        </p:txBody>
      </p:sp>
      <p:sp>
        <p:nvSpPr>
          <p:cNvPr id="17" name="Fußzeilenplatzhalter 16">
            <a:extLst>
              <a:ext uri="{FF2B5EF4-FFF2-40B4-BE49-F238E27FC236}">
                <a16:creationId xmlns:a16="http://schemas.microsoft.com/office/drawing/2014/main" id="{A4281E8C-1C19-EF23-952B-CD22CCC9F3BE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r>
              <a:rPr lang="en-US"/>
              <a:t>Name - Title of Presentation</a:t>
            </a:r>
            <a:endParaRPr lang="en-US" dirty="0"/>
          </a:p>
        </p:txBody>
      </p:sp>
      <p:sp>
        <p:nvSpPr>
          <p:cNvPr id="18" name="Foliennummernplatzhalter 17">
            <a:extLst>
              <a:ext uri="{FF2B5EF4-FFF2-40B4-BE49-F238E27FC236}">
                <a16:creationId xmlns:a16="http://schemas.microsoft.com/office/drawing/2014/main" id="{C9F951DB-FC7A-C00E-DAB8-004CEF0ABB38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fld id="{776FC98F-84AD-404B-BCCB-49E092AA6DE0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70587118"/>
      </p:ext>
    </p:extLst>
  </p:cSld>
  <p:clrMapOvr>
    <a:masterClrMapping/>
  </p:clrMapOvr>
  <p:transition>
    <p:fade/>
  </p:transition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x Text und 6x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platzhalter 7">
            <a:extLst>
              <a:ext uri="{FF2B5EF4-FFF2-40B4-BE49-F238E27FC236}">
                <a16:creationId xmlns:a16="http://schemas.microsoft.com/office/drawing/2014/main" id="{7B8292EB-A174-4AF5-E760-21B84099238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371476" y="4041774"/>
            <a:ext cx="1728788" cy="2232025"/>
          </a:xfrm>
        </p:spPr>
        <p:txBody>
          <a:bodyPr/>
          <a:lstStyle/>
          <a:p>
            <a:pPr lvl="0"/>
            <a:r>
              <a:rPr lang="en-US" dirty="0"/>
              <a:t>Add text</a:t>
            </a:r>
          </a:p>
        </p:txBody>
      </p:sp>
      <p:sp>
        <p:nvSpPr>
          <p:cNvPr id="7" name="Bildplatzhalter 15">
            <a:extLst>
              <a:ext uri="{FF2B5EF4-FFF2-40B4-BE49-F238E27FC236}">
                <a16:creationId xmlns:a16="http://schemas.microsoft.com/office/drawing/2014/main" id="{3D7FEBCC-B6B1-D6F4-B8C4-39CAEC3BF559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371475" y="1592262"/>
            <a:ext cx="1728788" cy="2232025"/>
          </a:xfrm>
        </p:spPr>
        <p:txBody>
          <a:bodyPr tIns="900000" anchor="ctr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600"/>
            </a:lvl1pPr>
          </a:lstStyle>
          <a:p>
            <a:r>
              <a:rPr lang="en-US" dirty="0"/>
              <a:t>Insert picture by clicking on the symbol. </a:t>
            </a:r>
            <a:br>
              <a:rPr lang="en-US" dirty="0"/>
            </a:br>
            <a:br>
              <a:rPr lang="en-US" dirty="0"/>
            </a:br>
            <a:r>
              <a:rPr lang="en-US" dirty="0"/>
              <a:t>Alternatively, copy the image to the clipboard,</a:t>
            </a:r>
            <a:br>
              <a:rPr lang="en-US" dirty="0"/>
            </a:br>
            <a:r>
              <a:rPr lang="en-US" dirty="0"/>
              <a:t> select the placeholder and paste the image.</a:t>
            </a:r>
          </a:p>
        </p:txBody>
      </p:sp>
      <p:sp>
        <p:nvSpPr>
          <p:cNvPr id="3" name="Bildplatzhalter 15">
            <a:extLst>
              <a:ext uri="{FF2B5EF4-FFF2-40B4-BE49-F238E27FC236}">
                <a16:creationId xmlns:a16="http://schemas.microsoft.com/office/drawing/2014/main" id="{CD8BE5C1-5277-9F0D-214B-6BE9AC8AC9F3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2314574" y="1592262"/>
            <a:ext cx="1728788" cy="2232025"/>
          </a:xfrm>
        </p:spPr>
        <p:txBody>
          <a:bodyPr tIns="900000" anchor="ctr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600"/>
            </a:lvl1pPr>
          </a:lstStyle>
          <a:p>
            <a:r>
              <a:rPr lang="en-US" dirty="0"/>
              <a:t>Insert picture by clicking on the symbol. </a:t>
            </a:r>
            <a:br>
              <a:rPr lang="en-US" dirty="0"/>
            </a:br>
            <a:br>
              <a:rPr lang="en-US" dirty="0"/>
            </a:br>
            <a:r>
              <a:rPr lang="en-US" dirty="0"/>
              <a:t>Alternatively, copy the image to the clipboard,</a:t>
            </a:r>
            <a:br>
              <a:rPr lang="en-US" dirty="0"/>
            </a:br>
            <a:r>
              <a:rPr lang="en-US" dirty="0"/>
              <a:t> select the placeholder and paste the image.</a:t>
            </a:r>
          </a:p>
        </p:txBody>
      </p:sp>
      <p:sp>
        <p:nvSpPr>
          <p:cNvPr id="9" name="Titel 8">
            <a:extLst>
              <a:ext uri="{FF2B5EF4-FFF2-40B4-BE49-F238E27FC236}">
                <a16:creationId xmlns:a16="http://schemas.microsoft.com/office/drawing/2014/main" id="{6D2788FA-E004-70D7-3A51-569E0F2546A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Add Title</a:t>
            </a:r>
          </a:p>
        </p:txBody>
      </p:sp>
      <p:sp>
        <p:nvSpPr>
          <p:cNvPr id="10" name="Textplatzhalter 7">
            <a:extLst>
              <a:ext uri="{FF2B5EF4-FFF2-40B4-BE49-F238E27FC236}">
                <a16:creationId xmlns:a16="http://schemas.microsoft.com/office/drawing/2014/main" id="{EEEB74CB-203B-02FC-976A-B40F94BCE8A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314575" y="4041774"/>
            <a:ext cx="1728788" cy="2232025"/>
          </a:xfrm>
        </p:spPr>
        <p:txBody>
          <a:bodyPr/>
          <a:lstStyle/>
          <a:p>
            <a:pPr lvl="0"/>
            <a:r>
              <a:rPr lang="en-US" dirty="0"/>
              <a:t>Add text</a:t>
            </a:r>
          </a:p>
        </p:txBody>
      </p:sp>
      <p:sp>
        <p:nvSpPr>
          <p:cNvPr id="2" name="Bildplatzhalter 15">
            <a:extLst>
              <a:ext uri="{FF2B5EF4-FFF2-40B4-BE49-F238E27FC236}">
                <a16:creationId xmlns:a16="http://schemas.microsoft.com/office/drawing/2014/main" id="{F8AC44F9-1F23-6873-474A-BE0A023DEAD7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 bwMode="gray">
          <a:xfrm>
            <a:off x="4259262" y="1592262"/>
            <a:ext cx="1728788" cy="2232025"/>
          </a:xfrm>
        </p:spPr>
        <p:txBody>
          <a:bodyPr tIns="900000" anchor="ctr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600"/>
            </a:lvl1pPr>
          </a:lstStyle>
          <a:p>
            <a:r>
              <a:rPr lang="en-US" dirty="0"/>
              <a:t>Insert picture by clicking on the symbol. </a:t>
            </a:r>
            <a:br>
              <a:rPr lang="en-US" dirty="0"/>
            </a:br>
            <a:br>
              <a:rPr lang="en-US" dirty="0"/>
            </a:br>
            <a:r>
              <a:rPr lang="en-US" dirty="0"/>
              <a:t>Alternatively, copy the image to the clipboard,</a:t>
            </a:r>
            <a:br>
              <a:rPr lang="en-US" dirty="0"/>
            </a:br>
            <a:r>
              <a:rPr lang="en-US" dirty="0"/>
              <a:t> select the placeholder and paste the image.</a:t>
            </a:r>
          </a:p>
        </p:txBody>
      </p:sp>
      <p:sp>
        <p:nvSpPr>
          <p:cNvPr id="11" name="Textplatzhalter 7">
            <a:extLst>
              <a:ext uri="{FF2B5EF4-FFF2-40B4-BE49-F238E27FC236}">
                <a16:creationId xmlns:a16="http://schemas.microsoft.com/office/drawing/2014/main" id="{EADE0E58-96C3-B4F9-7508-58B7536F7C7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4259263" y="4041774"/>
            <a:ext cx="1728788" cy="2232025"/>
          </a:xfrm>
        </p:spPr>
        <p:txBody>
          <a:bodyPr/>
          <a:lstStyle/>
          <a:p>
            <a:pPr lvl="0"/>
            <a:r>
              <a:rPr lang="en-US" dirty="0"/>
              <a:t>Add text</a:t>
            </a:r>
          </a:p>
        </p:txBody>
      </p:sp>
      <p:sp>
        <p:nvSpPr>
          <p:cNvPr id="12" name="Bildplatzhalter 15">
            <a:extLst>
              <a:ext uri="{FF2B5EF4-FFF2-40B4-BE49-F238E27FC236}">
                <a16:creationId xmlns:a16="http://schemas.microsoft.com/office/drawing/2014/main" id="{C4D4B916-72EE-D72A-5C96-51535BE77B09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 bwMode="gray">
          <a:xfrm>
            <a:off x="6203949" y="1592262"/>
            <a:ext cx="1728788" cy="2232025"/>
          </a:xfrm>
        </p:spPr>
        <p:txBody>
          <a:bodyPr tIns="900000" anchor="ctr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600"/>
            </a:lvl1pPr>
          </a:lstStyle>
          <a:p>
            <a:r>
              <a:rPr lang="en-US" dirty="0"/>
              <a:t>Insert picture by clicking on the symbol. </a:t>
            </a:r>
            <a:br>
              <a:rPr lang="en-US" dirty="0"/>
            </a:br>
            <a:br>
              <a:rPr lang="en-US" dirty="0"/>
            </a:br>
            <a:r>
              <a:rPr lang="en-US" dirty="0"/>
              <a:t>Alternatively, copy the image to the clipboard,</a:t>
            </a:r>
            <a:br>
              <a:rPr lang="en-US" dirty="0"/>
            </a:br>
            <a:r>
              <a:rPr lang="en-US" dirty="0"/>
              <a:t> select the placeholder and paste the image.</a:t>
            </a:r>
          </a:p>
        </p:txBody>
      </p:sp>
      <p:sp>
        <p:nvSpPr>
          <p:cNvPr id="13" name="Textplatzhalter 7">
            <a:extLst>
              <a:ext uri="{FF2B5EF4-FFF2-40B4-BE49-F238E27FC236}">
                <a16:creationId xmlns:a16="http://schemas.microsoft.com/office/drawing/2014/main" id="{37F1E17B-BC6D-5885-9A9E-8DFC4EE2BF90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6203950" y="4041774"/>
            <a:ext cx="1728788" cy="2232025"/>
          </a:xfrm>
        </p:spPr>
        <p:txBody>
          <a:bodyPr/>
          <a:lstStyle/>
          <a:p>
            <a:pPr lvl="0"/>
            <a:r>
              <a:rPr lang="en-US" dirty="0"/>
              <a:t>Add text</a:t>
            </a:r>
          </a:p>
        </p:txBody>
      </p:sp>
      <p:sp>
        <p:nvSpPr>
          <p:cNvPr id="14" name="Bildplatzhalter 15">
            <a:extLst>
              <a:ext uri="{FF2B5EF4-FFF2-40B4-BE49-F238E27FC236}">
                <a16:creationId xmlns:a16="http://schemas.microsoft.com/office/drawing/2014/main" id="{290663F7-C01E-A524-14EE-F495697580C4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 bwMode="gray">
          <a:xfrm>
            <a:off x="8149231" y="1592262"/>
            <a:ext cx="1728788" cy="2232025"/>
          </a:xfrm>
        </p:spPr>
        <p:txBody>
          <a:bodyPr tIns="900000" anchor="ctr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600"/>
            </a:lvl1pPr>
          </a:lstStyle>
          <a:p>
            <a:r>
              <a:rPr lang="en-US" dirty="0"/>
              <a:t>Insert picture by clicking on the symbol. </a:t>
            </a:r>
            <a:br>
              <a:rPr lang="en-US" dirty="0"/>
            </a:br>
            <a:br>
              <a:rPr lang="en-US" dirty="0"/>
            </a:br>
            <a:r>
              <a:rPr lang="en-US" dirty="0"/>
              <a:t>Alternatively, copy the image to the clipboard,</a:t>
            </a:r>
            <a:br>
              <a:rPr lang="en-US" dirty="0"/>
            </a:br>
            <a:r>
              <a:rPr lang="en-US" dirty="0"/>
              <a:t> select the placeholder and paste the image.</a:t>
            </a:r>
          </a:p>
        </p:txBody>
      </p:sp>
      <p:sp>
        <p:nvSpPr>
          <p:cNvPr id="15" name="Textplatzhalter 7">
            <a:extLst>
              <a:ext uri="{FF2B5EF4-FFF2-40B4-BE49-F238E27FC236}">
                <a16:creationId xmlns:a16="http://schemas.microsoft.com/office/drawing/2014/main" id="{4A722441-C52C-1DE3-6900-FAF58B44C943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8148638" y="4041774"/>
            <a:ext cx="1728788" cy="2232025"/>
          </a:xfrm>
        </p:spPr>
        <p:txBody>
          <a:bodyPr/>
          <a:lstStyle/>
          <a:p>
            <a:pPr lvl="0"/>
            <a:r>
              <a:rPr lang="en-US" dirty="0"/>
              <a:t>Add text</a:t>
            </a:r>
          </a:p>
        </p:txBody>
      </p:sp>
      <p:sp>
        <p:nvSpPr>
          <p:cNvPr id="16" name="Bildplatzhalter 15">
            <a:extLst>
              <a:ext uri="{FF2B5EF4-FFF2-40B4-BE49-F238E27FC236}">
                <a16:creationId xmlns:a16="http://schemas.microsoft.com/office/drawing/2014/main" id="{CDB5A221-6B48-924B-A1FD-6D62179C2077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 bwMode="gray">
          <a:xfrm>
            <a:off x="10090049" y="1592262"/>
            <a:ext cx="1728788" cy="2232025"/>
          </a:xfrm>
        </p:spPr>
        <p:txBody>
          <a:bodyPr tIns="900000" anchor="ctr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600"/>
            </a:lvl1pPr>
          </a:lstStyle>
          <a:p>
            <a:r>
              <a:rPr lang="en-US" dirty="0"/>
              <a:t>Insert picture by clicking on the symbol. </a:t>
            </a:r>
            <a:br>
              <a:rPr lang="en-US" dirty="0"/>
            </a:br>
            <a:br>
              <a:rPr lang="en-US" dirty="0"/>
            </a:br>
            <a:r>
              <a:rPr lang="en-US" dirty="0"/>
              <a:t>Alternatively, copy the image to the clipboard,</a:t>
            </a:r>
            <a:br>
              <a:rPr lang="en-US" dirty="0"/>
            </a:br>
            <a:r>
              <a:rPr lang="en-US" dirty="0"/>
              <a:t> select the placeholder and paste the image.</a:t>
            </a:r>
          </a:p>
        </p:txBody>
      </p:sp>
      <p:sp>
        <p:nvSpPr>
          <p:cNvPr id="17" name="Textplatzhalter 7">
            <a:extLst>
              <a:ext uri="{FF2B5EF4-FFF2-40B4-BE49-F238E27FC236}">
                <a16:creationId xmlns:a16="http://schemas.microsoft.com/office/drawing/2014/main" id="{EB10AE12-A5D0-F238-1264-88B90FA440AE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 bwMode="gray">
          <a:xfrm>
            <a:off x="10090050" y="4041774"/>
            <a:ext cx="1728788" cy="2232025"/>
          </a:xfrm>
        </p:spPr>
        <p:txBody>
          <a:bodyPr/>
          <a:lstStyle/>
          <a:p>
            <a:pPr lvl="0"/>
            <a:r>
              <a:rPr lang="en-US" dirty="0"/>
              <a:t>Add text</a:t>
            </a:r>
          </a:p>
        </p:txBody>
      </p:sp>
      <p:sp>
        <p:nvSpPr>
          <p:cNvPr id="18" name="Datumsplatzhalter 17">
            <a:extLst>
              <a:ext uri="{FF2B5EF4-FFF2-40B4-BE49-F238E27FC236}">
                <a16:creationId xmlns:a16="http://schemas.microsoft.com/office/drawing/2014/main" id="{79DD9CB7-7539-1828-FADA-78A66F2349FA}"/>
              </a:ext>
            </a:extLst>
          </p:cNvPr>
          <p:cNvSpPr>
            <a:spLocks noGrp="1"/>
          </p:cNvSpPr>
          <p:nvPr>
            <p:ph type="dt" sz="half" idx="26"/>
          </p:nvPr>
        </p:nvSpPr>
        <p:spPr/>
        <p:txBody>
          <a:bodyPr/>
          <a:lstStyle/>
          <a:p>
            <a:fld id="{99F341B8-B38D-4640-B61E-CB50E17DCDD5}" type="datetime3">
              <a:rPr lang="de-DE" smtClean="0"/>
              <a:t>01/07/2025</a:t>
            </a:fld>
            <a:endParaRPr lang="en-US" dirty="0"/>
          </a:p>
        </p:txBody>
      </p:sp>
      <p:sp>
        <p:nvSpPr>
          <p:cNvPr id="19" name="Fußzeilenplatzhalter 18">
            <a:extLst>
              <a:ext uri="{FF2B5EF4-FFF2-40B4-BE49-F238E27FC236}">
                <a16:creationId xmlns:a16="http://schemas.microsoft.com/office/drawing/2014/main" id="{63BDBE70-17B1-8520-1846-0D0FF5DC7FC7}"/>
              </a:ext>
            </a:extLst>
          </p:cNvPr>
          <p:cNvSpPr>
            <a:spLocks noGrp="1"/>
          </p:cNvSpPr>
          <p:nvPr>
            <p:ph type="ftr" sz="quarter" idx="27"/>
          </p:nvPr>
        </p:nvSpPr>
        <p:spPr/>
        <p:txBody>
          <a:bodyPr/>
          <a:lstStyle/>
          <a:p>
            <a:r>
              <a:rPr lang="en-US"/>
              <a:t>Name - Title of Presentation</a:t>
            </a:r>
            <a:endParaRPr lang="en-US" dirty="0"/>
          </a:p>
        </p:txBody>
      </p:sp>
      <p:sp>
        <p:nvSpPr>
          <p:cNvPr id="20" name="Foliennummernplatzhalter 19">
            <a:extLst>
              <a:ext uri="{FF2B5EF4-FFF2-40B4-BE49-F238E27FC236}">
                <a16:creationId xmlns:a16="http://schemas.microsoft.com/office/drawing/2014/main" id="{7D5DEFA5-487F-8348-320F-F21E99551105}"/>
              </a:ext>
            </a:extLst>
          </p:cNvPr>
          <p:cNvSpPr>
            <a:spLocks noGrp="1"/>
          </p:cNvSpPr>
          <p:nvPr>
            <p:ph type="sldNum" sz="quarter" idx="28"/>
          </p:nvPr>
        </p:nvSpPr>
        <p:spPr/>
        <p:txBody>
          <a:bodyPr/>
          <a:lstStyle/>
          <a:p>
            <a:fld id="{776FC98F-84AD-404B-BCCB-49E092AA6DE0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96403977"/>
      </p:ext>
    </p:extLst>
  </p:cSld>
  <p:clrMapOvr>
    <a:masterClrMapping/>
  </p:clrMapOvr>
  <p:transition>
    <p:fade/>
  </p:transition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x Picture and 4x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platzhalter 7">
            <a:extLst>
              <a:ext uri="{FF2B5EF4-FFF2-40B4-BE49-F238E27FC236}">
                <a16:creationId xmlns:a16="http://schemas.microsoft.com/office/drawing/2014/main" id="{7B8292EB-A174-4AF5-E760-21B84099238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371475" y="3360814"/>
            <a:ext cx="5616575" cy="463474"/>
          </a:xfrm>
        </p:spPr>
        <p:txBody>
          <a:bodyPr tIns="144000"/>
          <a:lstStyle/>
          <a:p>
            <a:pPr lvl="0"/>
            <a:r>
              <a:rPr lang="en-US" dirty="0"/>
              <a:t>Add text</a:t>
            </a:r>
          </a:p>
        </p:txBody>
      </p:sp>
      <p:sp>
        <p:nvSpPr>
          <p:cNvPr id="7" name="Bildplatzhalter 15">
            <a:extLst>
              <a:ext uri="{FF2B5EF4-FFF2-40B4-BE49-F238E27FC236}">
                <a16:creationId xmlns:a16="http://schemas.microsoft.com/office/drawing/2014/main" id="{3D7FEBCC-B6B1-D6F4-B8C4-39CAEC3BF559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371475" y="1592262"/>
            <a:ext cx="5616574" cy="1764000"/>
          </a:xfrm>
        </p:spPr>
        <p:txBody>
          <a:bodyPr tIns="900000" anchor="ctr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00"/>
            </a:lvl1pPr>
          </a:lstStyle>
          <a:p>
            <a:r>
              <a:rPr lang="en-US" dirty="0"/>
              <a:t>Insert picture by clicking on the symbol. </a:t>
            </a:r>
            <a:br>
              <a:rPr lang="en-US" dirty="0"/>
            </a:br>
            <a:br>
              <a:rPr lang="en-US" dirty="0"/>
            </a:br>
            <a:r>
              <a:rPr lang="en-US" dirty="0"/>
              <a:t>Alternatively, copy the image to the clipboard,</a:t>
            </a:r>
            <a:br>
              <a:rPr lang="en-US" dirty="0"/>
            </a:br>
            <a:r>
              <a:rPr lang="en-US" dirty="0"/>
              <a:t> select the placeholder and paste the image.</a:t>
            </a:r>
          </a:p>
        </p:txBody>
      </p:sp>
      <p:sp>
        <p:nvSpPr>
          <p:cNvPr id="3" name="Bildplatzhalter 15">
            <a:extLst>
              <a:ext uri="{FF2B5EF4-FFF2-40B4-BE49-F238E27FC236}">
                <a16:creationId xmlns:a16="http://schemas.microsoft.com/office/drawing/2014/main" id="{CD8BE5C1-5277-9F0D-214B-6BE9AC8AC9F3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6203948" y="1592262"/>
            <a:ext cx="5616575" cy="1764000"/>
          </a:xfrm>
        </p:spPr>
        <p:txBody>
          <a:bodyPr tIns="900000" anchor="ctr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00"/>
            </a:lvl1pPr>
          </a:lstStyle>
          <a:p>
            <a:r>
              <a:rPr lang="en-US" dirty="0"/>
              <a:t>Insert picture by clicking on the symbol. </a:t>
            </a:r>
            <a:br>
              <a:rPr lang="en-US" dirty="0"/>
            </a:br>
            <a:br>
              <a:rPr lang="en-US" dirty="0"/>
            </a:br>
            <a:r>
              <a:rPr lang="en-US" dirty="0"/>
              <a:t>Alternatively, copy the image to the clipboard,</a:t>
            </a:r>
            <a:br>
              <a:rPr lang="en-US" dirty="0"/>
            </a:br>
            <a:r>
              <a:rPr lang="en-US" dirty="0"/>
              <a:t> select the placeholder and paste the image.</a:t>
            </a:r>
          </a:p>
        </p:txBody>
      </p:sp>
      <p:sp>
        <p:nvSpPr>
          <p:cNvPr id="9" name="Titel 8">
            <a:extLst>
              <a:ext uri="{FF2B5EF4-FFF2-40B4-BE49-F238E27FC236}">
                <a16:creationId xmlns:a16="http://schemas.microsoft.com/office/drawing/2014/main" id="{6D2788FA-E004-70D7-3A51-569E0F2546A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Add Title</a:t>
            </a:r>
          </a:p>
        </p:txBody>
      </p:sp>
      <p:sp>
        <p:nvSpPr>
          <p:cNvPr id="10" name="Textplatzhalter 7">
            <a:extLst>
              <a:ext uri="{FF2B5EF4-FFF2-40B4-BE49-F238E27FC236}">
                <a16:creationId xmlns:a16="http://schemas.microsoft.com/office/drawing/2014/main" id="{EEEB74CB-203B-02FC-976A-B40F94BCE8A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6203950" y="3360814"/>
            <a:ext cx="5616575" cy="463474"/>
          </a:xfrm>
        </p:spPr>
        <p:txBody>
          <a:bodyPr tIns="144000"/>
          <a:lstStyle/>
          <a:p>
            <a:pPr lvl="0"/>
            <a:r>
              <a:rPr lang="en-US" dirty="0"/>
              <a:t>Add text</a:t>
            </a:r>
          </a:p>
        </p:txBody>
      </p:sp>
      <p:sp>
        <p:nvSpPr>
          <p:cNvPr id="2" name="Bildplatzhalter 15">
            <a:extLst>
              <a:ext uri="{FF2B5EF4-FFF2-40B4-BE49-F238E27FC236}">
                <a16:creationId xmlns:a16="http://schemas.microsoft.com/office/drawing/2014/main" id="{F8AC44F9-1F23-6873-474A-BE0A023DEAD7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 bwMode="gray">
          <a:xfrm>
            <a:off x="371475" y="4041775"/>
            <a:ext cx="5616573" cy="1764000"/>
          </a:xfrm>
        </p:spPr>
        <p:txBody>
          <a:bodyPr tIns="900000" anchor="ctr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00"/>
            </a:lvl1pPr>
          </a:lstStyle>
          <a:p>
            <a:r>
              <a:rPr lang="en-US" dirty="0"/>
              <a:t>Insert picture by clicking on the symbol. </a:t>
            </a:r>
            <a:br>
              <a:rPr lang="en-US" dirty="0"/>
            </a:br>
            <a:br>
              <a:rPr lang="en-US" dirty="0"/>
            </a:br>
            <a:r>
              <a:rPr lang="en-US" dirty="0"/>
              <a:t>Alternatively, copy the image to the clipboard,</a:t>
            </a:r>
            <a:br>
              <a:rPr lang="en-US" dirty="0"/>
            </a:br>
            <a:r>
              <a:rPr lang="en-US" dirty="0"/>
              <a:t> select the placeholder and paste the image.</a:t>
            </a:r>
          </a:p>
        </p:txBody>
      </p:sp>
      <p:sp>
        <p:nvSpPr>
          <p:cNvPr id="11" name="Textplatzhalter 7">
            <a:extLst>
              <a:ext uri="{FF2B5EF4-FFF2-40B4-BE49-F238E27FC236}">
                <a16:creationId xmlns:a16="http://schemas.microsoft.com/office/drawing/2014/main" id="{EADE0E58-96C3-B4F9-7508-58B7536F7C7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371474" y="5805774"/>
            <a:ext cx="5616573" cy="464400"/>
          </a:xfrm>
        </p:spPr>
        <p:txBody>
          <a:bodyPr tIns="144000"/>
          <a:lstStyle/>
          <a:p>
            <a:pPr lvl="0"/>
            <a:r>
              <a:rPr lang="en-US" dirty="0"/>
              <a:t>Add text</a:t>
            </a:r>
          </a:p>
        </p:txBody>
      </p:sp>
      <p:sp>
        <p:nvSpPr>
          <p:cNvPr id="12" name="Bildplatzhalter 15">
            <a:extLst>
              <a:ext uri="{FF2B5EF4-FFF2-40B4-BE49-F238E27FC236}">
                <a16:creationId xmlns:a16="http://schemas.microsoft.com/office/drawing/2014/main" id="{C4D4B916-72EE-D72A-5C96-51535BE77B09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 bwMode="gray">
          <a:xfrm>
            <a:off x="6203949" y="4041774"/>
            <a:ext cx="5616575" cy="1764000"/>
          </a:xfrm>
        </p:spPr>
        <p:txBody>
          <a:bodyPr tIns="900000" anchor="ctr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00"/>
            </a:lvl1pPr>
          </a:lstStyle>
          <a:p>
            <a:r>
              <a:rPr lang="en-US" dirty="0"/>
              <a:t>Insert picture by clicking on the symbol. </a:t>
            </a:r>
            <a:br>
              <a:rPr lang="en-US" dirty="0"/>
            </a:br>
            <a:br>
              <a:rPr lang="en-US" dirty="0"/>
            </a:br>
            <a:r>
              <a:rPr lang="en-US" dirty="0"/>
              <a:t>Alternatively, copy the image to the clipboard,</a:t>
            </a:r>
            <a:br>
              <a:rPr lang="en-US" dirty="0"/>
            </a:br>
            <a:r>
              <a:rPr lang="en-US" dirty="0"/>
              <a:t> select the placeholder and paste the image.</a:t>
            </a:r>
          </a:p>
        </p:txBody>
      </p:sp>
      <p:sp>
        <p:nvSpPr>
          <p:cNvPr id="13" name="Textplatzhalter 7">
            <a:extLst>
              <a:ext uri="{FF2B5EF4-FFF2-40B4-BE49-F238E27FC236}">
                <a16:creationId xmlns:a16="http://schemas.microsoft.com/office/drawing/2014/main" id="{37F1E17B-BC6D-5885-9A9E-8DFC4EE2BF90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6203950" y="5805774"/>
            <a:ext cx="5616573" cy="464400"/>
          </a:xfrm>
        </p:spPr>
        <p:txBody>
          <a:bodyPr tIns="144000"/>
          <a:lstStyle/>
          <a:p>
            <a:pPr lvl="0"/>
            <a:r>
              <a:rPr lang="en-US" dirty="0"/>
              <a:t>Add text</a:t>
            </a:r>
          </a:p>
        </p:txBody>
      </p:sp>
      <p:sp>
        <p:nvSpPr>
          <p:cNvPr id="14" name="Datumsplatzhalter 13">
            <a:extLst>
              <a:ext uri="{FF2B5EF4-FFF2-40B4-BE49-F238E27FC236}">
                <a16:creationId xmlns:a16="http://schemas.microsoft.com/office/drawing/2014/main" id="{17649989-D9AA-435F-7A4A-0B2A5E1ECF2C}"/>
              </a:ext>
            </a:extLst>
          </p:cNvPr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fld id="{81DB8991-62F1-4799-A6E3-A702574F4DD4}" type="datetime3">
              <a:rPr lang="de-DE" smtClean="0"/>
              <a:t>01/07/2025</a:t>
            </a:fld>
            <a:endParaRPr lang="en-US" dirty="0"/>
          </a:p>
        </p:txBody>
      </p:sp>
      <p:sp>
        <p:nvSpPr>
          <p:cNvPr id="15" name="Fußzeilenplatzhalter 14">
            <a:extLst>
              <a:ext uri="{FF2B5EF4-FFF2-40B4-BE49-F238E27FC236}">
                <a16:creationId xmlns:a16="http://schemas.microsoft.com/office/drawing/2014/main" id="{C9F316C1-96F5-A67B-AF23-9ACC6CA9F2A5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Name - Title of Presentation</a:t>
            </a:r>
            <a:endParaRPr lang="en-US" dirty="0"/>
          </a:p>
        </p:txBody>
      </p:sp>
      <p:sp>
        <p:nvSpPr>
          <p:cNvPr id="16" name="Foliennummernplatzhalter 15">
            <a:extLst>
              <a:ext uri="{FF2B5EF4-FFF2-40B4-BE49-F238E27FC236}">
                <a16:creationId xmlns:a16="http://schemas.microsoft.com/office/drawing/2014/main" id="{D2A681F8-D362-068B-DB53-4422E1236107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776FC98F-84AD-404B-BCCB-49E092AA6DE0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82135934"/>
      </p:ext>
    </p:extLst>
  </p:cSld>
  <p:clrMapOvr>
    <a:masterClrMapping/>
  </p:clrMapOvr>
  <p:transition>
    <p:fade/>
  </p:transition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x Picture and 6x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platzhalter 7">
            <a:extLst>
              <a:ext uri="{FF2B5EF4-FFF2-40B4-BE49-F238E27FC236}">
                <a16:creationId xmlns:a16="http://schemas.microsoft.com/office/drawing/2014/main" id="{7B8292EB-A174-4AF5-E760-21B84099238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371475" y="3360814"/>
            <a:ext cx="3671888" cy="463474"/>
          </a:xfrm>
        </p:spPr>
        <p:txBody>
          <a:bodyPr tIns="144000"/>
          <a:lstStyle/>
          <a:p>
            <a:pPr lvl="0"/>
            <a:r>
              <a:rPr lang="en-US" dirty="0"/>
              <a:t>Add text</a:t>
            </a:r>
          </a:p>
        </p:txBody>
      </p:sp>
      <p:sp>
        <p:nvSpPr>
          <p:cNvPr id="7" name="Bildplatzhalter 15">
            <a:extLst>
              <a:ext uri="{FF2B5EF4-FFF2-40B4-BE49-F238E27FC236}">
                <a16:creationId xmlns:a16="http://schemas.microsoft.com/office/drawing/2014/main" id="{3D7FEBCC-B6B1-D6F4-B8C4-39CAEC3BF559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371475" y="1592262"/>
            <a:ext cx="3671888" cy="1764000"/>
          </a:xfrm>
        </p:spPr>
        <p:txBody>
          <a:bodyPr tIns="900000" anchor="ctr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700"/>
            </a:lvl1pPr>
          </a:lstStyle>
          <a:p>
            <a:r>
              <a:rPr lang="en-US" dirty="0"/>
              <a:t>Insert picture by clicking on the symbol. </a:t>
            </a:r>
            <a:br>
              <a:rPr lang="en-US" dirty="0"/>
            </a:br>
            <a:br>
              <a:rPr lang="en-US" dirty="0"/>
            </a:br>
            <a:r>
              <a:rPr lang="en-US" dirty="0"/>
              <a:t>Alternatively, copy the image to the clipboard,</a:t>
            </a:r>
            <a:br>
              <a:rPr lang="en-US" dirty="0"/>
            </a:br>
            <a:r>
              <a:rPr lang="en-US" dirty="0"/>
              <a:t> select the placeholder and paste the image.</a:t>
            </a:r>
          </a:p>
        </p:txBody>
      </p:sp>
      <p:sp>
        <p:nvSpPr>
          <p:cNvPr id="3" name="Bildplatzhalter 15">
            <a:extLst>
              <a:ext uri="{FF2B5EF4-FFF2-40B4-BE49-F238E27FC236}">
                <a16:creationId xmlns:a16="http://schemas.microsoft.com/office/drawing/2014/main" id="{CD8BE5C1-5277-9F0D-214B-6BE9AC8AC9F3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4260846" y="1592262"/>
            <a:ext cx="3671888" cy="1764000"/>
          </a:xfrm>
        </p:spPr>
        <p:txBody>
          <a:bodyPr tIns="900000" anchor="ctr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700"/>
            </a:lvl1pPr>
          </a:lstStyle>
          <a:p>
            <a:r>
              <a:rPr lang="en-US" dirty="0"/>
              <a:t>Insert picture by clicking on the symbol. </a:t>
            </a:r>
            <a:br>
              <a:rPr lang="en-US" dirty="0"/>
            </a:br>
            <a:br>
              <a:rPr lang="en-US" dirty="0"/>
            </a:br>
            <a:r>
              <a:rPr lang="en-US" dirty="0"/>
              <a:t>Alternatively, copy the image to the clipboard,</a:t>
            </a:r>
            <a:br>
              <a:rPr lang="en-US" dirty="0"/>
            </a:br>
            <a:r>
              <a:rPr lang="en-US" dirty="0"/>
              <a:t> select the placeholder and paste the image.</a:t>
            </a:r>
          </a:p>
        </p:txBody>
      </p:sp>
      <p:sp>
        <p:nvSpPr>
          <p:cNvPr id="9" name="Titel 8">
            <a:extLst>
              <a:ext uri="{FF2B5EF4-FFF2-40B4-BE49-F238E27FC236}">
                <a16:creationId xmlns:a16="http://schemas.microsoft.com/office/drawing/2014/main" id="{6D2788FA-E004-70D7-3A51-569E0F2546A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Add Title</a:t>
            </a:r>
          </a:p>
        </p:txBody>
      </p:sp>
      <p:sp>
        <p:nvSpPr>
          <p:cNvPr id="10" name="Textplatzhalter 7">
            <a:extLst>
              <a:ext uri="{FF2B5EF4-FFF2-40B4-BE49-F238E27FC236}">
                <a16:creationId xmlns:a16="http://schemas.microsoft.com/office/drawing/2014/main" id="{EEEB74CB-203B-02FC-976A-B40F94BCE8A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4260848" y="3360814"/>
            <a:ext cx="3671888" cy="463474"/>
          </a:xfrm>
        </p:spPr>
        <p:txBody>
          <a:bodyPr tIns="144000"/>
          <a:lstStyle/>
          <a:p>
            <a:pPr lvl="0"/>
            <a:r>
              <a:rPr lang="en-US" dirty="0"/>
              <a:t>Add text</a:t>
            </a:r>
          </a:p>
        </p:txBody>
      </p:sp>
      <p:sp>
        <p:nvSpPr>
          <p:cNvPr id="2" name="Bildplatzhalter 15">
            <a:extLst>
              <a:ext uri="{FF2B5EF4-FFF2-40B4-BE49-F238E27FC236}">
                <a16:creationId xmlns:a16="http://schemas.microsoft.com/office/drawing/2014/main" id="{F8AC44F9-1F23-6873-474A-BE0A023DEAD7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 bwMode="gray">
          <a:xfrm>
            <a:off x="8148637" y="1594869"/>
            <a:ext cx="3671888" cy="1764000"/>
          </a:xfrm>
        </p:spPr>
        <p:txBody>
          <a:bodyPr tIns="900000" anchor="ctr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700"/>
            </a:lvl1pPr>
          </a:lstStyle>
          <a:p>
            <a:r>
              <a:rPr lang="en-US" dirty="0"/>
              <a:t>Insert picture by clicking on the symbol. </a:t>
            </a:r>
            <a:br>
              <a:rPr lang="en-US" dirty="0"/>
            </a:br>
            <a:br>
              <a:rPr lang="en-US" dirty="0"/>
            </a:br>
            <a:r>
              <a:rPr lang="en-US" dirty="0"/>
              <a:t>Alternatively, copy the image to the clipboard,</a:t>
            </a:r>
            <a:br>
              <a:rPr lang="en-US" dirty="0"/>
            </a:br>
            <a:r>
              <a:rPr lang="en-US" dirty="0"/>
              <a:t> select the placeholder and paste the image.</a:t>
            </a:r>
          </a:p>
        </p:txBody>
      </p:sp>
      <p:sp>
        <p:nvSpPr>
          <p:cNvPr id="11" name="Textplatzhalter 7">
            <a:extLst>
              <a:ext uri="{FF2B5EF4-FFF2-40B4-BE49-F238E27FC236}">
                <a16:creationId xmlns:a16="http://schemas.microsoft.com/office/drawing/2014/main" id="{EADE0E58-96C3-B4F9-7508-58B7536F7C7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8148637" y="3358868"/>
            <a:ext cx="3671888" cy="464400"/>
          </a:xfrm>
        </p:spPr>
        <p:txBody>
          <a:bodyPr tIns="144000"/>
          <a:lstStyle/>
          <a:p>
            <a:pPr lvl="0"/>
            <a:r>
              <a:rPr lang="en-US" dirty="0"/>
              <a:t>Add text</a:t>
            </a:r>
          </a:p>
        </p:txBody>
      </p:sp>
      <p:sp>
        <p:nvSpPr>
          <p:cNvPr id="12" name="Bildplatzhalter 15">
            <a:extLst>
              <a:ext uri="{FF2B5EF4-FFF2-40B4-BE49-F238E27FC236}">
                <a16:creationId xmlns:a16="http://schemas.microsoft.com/office/drawing/2014/main" id="{C4D4B916-72EE-D72A-5C96-51535BE77B09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 bwMode="gray">
          <a:xfrm>
            <a:off x="371475" y="4041774"/>
            <a:ext cx="3671888" cy="1764000"/>
          </a:xfrm>
        </p:spPr>
        <p:txBody>
          <a:bodyPr tIns="900000" anchor="ctr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700"/>
            </a:lvl1pPr>
          </a:lstStyle>
          <a:p>
            <a:r>
              <a:rPr lang="en-US" dirty="0"/>
              <a:t>Insert picture by clicking on the symbol. </a:t>
            </a:r>
            <a:br>
              <a:rPr lang="en-US" dirty="0"/>
            </a:br>
            <a:br>
              <a:rPr lang="en-US" dirty="0"/>
            </a:br>
            <a:r>
              <a:rPr lang="en-US" dirty="0"/>
              <a:t>Alternatively, copy the image to the clipboard,</a:t>
            </a:r>
            <a:br>
              <a:rPr lang="en-US" dirty="0"/>
            </a:br>
            <a:r>
              <a:rPr lang="en-US" dirty="0"/>
              <a:t> select the placeholder and paste the image.</a:t>
            </a:r>
          </a:p>
        </p:txBody>
      </p:sp>
      <p:sp>
        <p:nvSpPr>
          <p:cNvPr id="13" name="Textplatzhalter 7">
            <a:extLst>
              <a:ext uri="{FF2B5EF4-FFF2-40B4-BE49-F238E27FC236}">
                <a16:creationId xmlns:a16="http://schemas.microsoft.com/office/drawing/2014/main" id="{37F1E17B-BC6D-5885-9A9E-8DFC4EE2BF90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371474" y="5805774"/>
            <a:ext cx="3671888" cy="464400"/>
          </a:xfrm>
        </p:spPr>
        <p:txBody>
          <a:bodyPr tIns="144000"/>
          <a:lstStyle/>
          <a:p>
            <a:pPr lvl="0"/>
            <a:r>
              <a:rPr lang="en-US" dirty="0"/>
              <a:t>Add text</a:t>
            </a:r>
          </a:p>
        </p:txBody>
      </p:sp>
      <p:sp>
        <p:nvSpPr>
          <p:cNvPr id="14" name="Bildplatzhalter 15">
            <a:extLst>
              <a:ext uri="{FF2B5EF4-FFF2-40B4-BE49-F238E27FC236}">
                <a16:creationId xmlns:a16="http://schemas.microsoft.com/office/drawing/2014/main" id="{DC1FEB43-DE82-8732-4F57-F71B0E7269D8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 bwMode="gray">
          <a:xfrm>
            <a:off x="4259260" y="4044948"/>
            <a:ext cx="3671888" cy="1764000"/>
          </a:xfrm>
        </p:spPr>
        <p:txBody>
          <a:bodyPr tIns="900000" anchor="ctr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700"/>
            </a:lvl1pPr>
          </a:lstStyle>
          <a:p>
            <a:r>
              <a:rPr lang="en-US" dirty="0"/>
              <a:t>Insert picture by clicking on the symbol. </a:t>
            </a:r>
            <a:br>
              <a:rPr lang="en-US" dirty="0"/>
            </a:br>
            <a:br>
              <a:rPr lang="en-US" dirty="0"/>
            </a:br>
            <a:r>
              <a:rPr lang="en-US" dirty="0"/>
              <a:t>Alternatively, copy the image to the clipboard,</a:t>
            </a:r>
            <a:br>
              <a:rPr lang="en-US" dirty="0"/>
            </a:br>
            <a:r>
              <a:rPr lang="en-US" dirty="0"/>
              <a:t> select the placeholder and paste the image.</a:t>
            </a:r>
          </a:p>
        </p:txBody>
      </p:sp>
      <p:sp>
        <p:nvSpPr>
          <p:cNvPr id="15" name="Textplatzhalter 7">
            <a:extLst>
              <a:ext uri="{FF2B5EF4-FFF2-40B4-BE49-F238E27FC236}">
                <a16:creationId xmlns:a16="http://schemas.microsoft.com/office/drawing/2014/main" id="{1677C5CF-B71C-20E0-5EC4-77FF60F7CBCA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4259262" y="5813500"/>
            <a:ext cx="3671888" cy="463474"/>
          </a:xfrm>
        </p:spPr>
        <p:txBody>
          <a:bodyPr tIns="144000"/>
          <a:lstStyle/>
          <a:p>
            <a:pPr lvl="0"/>
            <a:r>
              <a:rPr lang="en-US" dirty="0"/>
              <a:t>Add text</a:t>
            </a:r>
          </a:p>
        </p:txBody>
      </p:sp>
      <p:sp>
        <p:nvSpPr>
          <p:cNvPr id="16" name="Bildplatzhalter 15">
            <a:extLst>
              <a:ext uri="{FF2B5EF4-FFF2-40B4-BE49-F238E27FC236}">
                <a16:creationId xmlns:a16="http://schemas.microsoft.com/office/drawing/2014/main" id="{DFEEF33F-FBF4-3DE9-D0E5-00A10C7FC562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 bwMode="gray">
          <a:xfrm>
            <a:off x="8148637" y="4041773"/>
            <a:ext cx="3671888" cy="1764000"/>
          </a:xfrm>
        </p:spPr>
        <p:txBody>
          <a:bodyPr tIns="900000" anchor="ctr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700"/>
            </a:lvl1pPr>
          </a:lstStyle>
          <a:p>
            <a:r>
              <a:rPr lang="en-US" dirty="0"/>
              <a:t>Insert picture by clicking on the symbol. </a:t>
            </a:r>
            <a:br>
              <a:rPr lang="en-US" dirty="0"/>
            </a:br>
            <a:br>
              <a:rPr lang="en-US" dirty="0"/>
            </a:br>
            <a:r>
              <a:rPr lang="en-US" dirty="0"/>
              <a:t>Alternatively, copy the image to the clipboard,</a:t>
            </a:r>
            <a:br>
              <a:rPr lang="en-US" dirty="0"/>
            </a:br>
            <a:r>
              <a:rPr lang="en-US" dirty="0"/>
              <a:t> select the placeholder and paste the image.</a:t>
            </a:r>
          </a:p>
        </p:txBody>
      </p:sp>
      <p:sp>
        <p:nvSpPr>
          <p:cNvPr id="17" name="Textplatzhalter 7">
            <a:extLst>
              <a:ext uri="{FF2B5EF4-FFF2-40B4-BE49-F238E27FC236}">
                <a16:creationId xmlns:a16="http://schemas.microsoft.com/office/drawing/2014/main" id="{A36A8A1C-5BB2-98A0-32C5-38F2E40CEFE6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 bwMode="gray">
          <a:xfrm>
            <a:off x="8148637" y="5805773"/>
            <a:ext cx="3671888" cy="464400"/>
          </a:xfrm>
        </p:spPr>
        <p:txBody>
          <a:bodyPr tIns="144000"/>
          <a:lstStyle/>
          <a:p>
            <a:pPr lvl="0"/>
            <a:r>
              <a:rPr lang="en-US" dirty="0"/>
              <a:t>Add text</a:t>
            </a:r>
          </a:p>
        </p:txBody>
      </p:sp>
      <p:sp>
        <p:nvSpPr>
          <p:cNvPr id="18" name="Datumsplatzhalter 17">
            <a:extLst>
              <a:ext uri="{FF2B5EF4-FFF2-40B4-BE49-F238E27FC236}">
                <a16:creationId xmlns:a16="http://schemas.microsoft.com/office/drawing/2014/main" id="{A5232473-C891-573E-C486-121FF378F57C}"/>
              </a:ext>
            </a:extLst>
          </p:cNvPr>
          <p:cNvSpPr>
            <a:spLocks noGrp="1"/>
          </p:cNvSpPr>
          <p:nvPr>
            <p:ph type="dt" sz="half" idx="26"/>
          </p:nvPr>
        </p:nvSpPr>
        <p:spPr/>
        <p:txBody>
          <a:bodyPr/>
          <a:lstStyle/>
          <a:p>
            <a:fld id="{4A1E8E7A-2CC0-4190-98EC-6CEF712D6B86}" type="datetime3">
              <a:rPr lang="de-DE" smtClean="0"/>
              <a:t>01/07/2025</a:t>
            </a:fld>
            <a:endParaRPr lang="en-US" dirty="0"/>
          </a:p>
        </p:txBody>
      </p:sp>
      <p:sp>
        <p:nvSpPr>
          <p:cNvPr id="19" name="Fußzeilenplatzhalter 18">
            <a:extLst>
              <a:ext uri="{FF2B5EF4-FFF2-40B4-BE49-F238E27FC236}">
                <a16:creationId xmlns:a16="http://schemas.microsoft.com/office/drawing/2014/main" id="{7302FC03-B491-A207-7DBA-127BB90729DD}"/>
              </a:ext>
            </a:extLst>
          </p:cNvPr>
          <p:cNvSpPr>
            <a:spLocks noGrp="1"/>
          </p:cNvSpPr>
          <p:nvPr>
            <p:ph type="ftr" sz="quarter" idx="27"/>
          </p:nvPr>
        </p:nvSpPr>
        <p:spPr/>
        <p:txBody>
          <a:bodyPr/>
          <a:lstStyle/>
          <a:p>
            <a:r>
              <a:rPr lang="en-US"/>
              <a:t>Name - Title of Presentation</a:t>
            </a:r>
            <a:endParaRPr lang="en-US" dirty="0"/>
          </a:p>
        </p:txBody>
      </p:sp>
      <p:sp>
        <p:nvSpPr>
          <p:cNvPr id="20" name="Foliennummernplatzhalter 19">
            <a:extLst>
              <a:ext uri="{FF2B5EF4-FFF2-40B4-BE49-F238E27FC236}">
                <a16:creationId xmlns:a16="http://schemas.microsoft.com/office/drawing/2014/main" id="{8B67C2D4-3135-E49A-5148-63257685678A}"/>
              </a:ext>
            </a:extLst>
          </p:cNvPr>
          <p:cNvSpPr>
            <a:spLocks noGrp="1"/>
          </p:cNvSpPr>
          <p:nvPr>
            <p:ph type="sldNum" sz="quarter" idx="28"/>
          </p:nvPr>
        </p:nvSpPr>
        <p:spPr/>
        <p:txBody>
          <a:bodyPr/>
          <a:lstStyle/>
          <a:p>
            <a:fld id="{776FC98F-84AD-404B-BCCB-49E092AA6DE0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87620574"/>
      </p:ext>
    </p:extLst>
  </p:cSld>
  <p:clrMapOvr>
    <a:masterClrMapping/>
  </p:clrMapOvr>
  <p:transition>
    <p:fade/>
  </p:transition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05B1CE1-6CC9-F59B-4D70-B6BAA153740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71475" y="368300"/>
            <a:ext cx="7561263" cy="4681537"/>
          </a:xfrm>
        </p:spPr>
        <p:txBody>
          <a:bodyPr/>
          <a:lstStyle>
            <a:lvl1pPr marL="432000" indent="-432000">
              <a:buClrTx/>
              <a:buFont typeface="Franklin Gothic Medium" panose="020B0603020102020204" pitchFamily="34" charset="0"/>
              <a:buChar char="”"/>
              <a:defRPr sz="5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7B8292EB-A174-4AF5-E760-21B84099238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259262" y="5265738"/>
            <a:ext cx="3673475" cy="1011236"/>
          </a:xfrm>
        </p:spPr>
        <p:txBody>
          <a:bodyPr anchor="b"/>
          <a:lstStyle>
            <a:lvl1pPr algn="r">
              <a:lnSpc>
                <a:spcPct val="85000"/>
              </a:lnSpc>
              <a:spcBef>
                <a:spcPts val="300"/>
              </a:spcBef>
              <a:spcAft>
                <a:spcPts val="300"/>
              </a:spcAft>
              <a:defRPr sz="1800" b="1">
                <a:solidFill>
                  <a:schemeClr val="accent1"/>
                </a:solidFill>
              </a:defRPr>
            </a:lvl1pPr>
            <a:lvl2pPr marL="0" indent="0" algn="r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2pPr>
            <a:lvl3pPr marL="0" indent="0" algn="r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3pPr>
            <a:lvl4pPr marL="0" indent="0" algn="r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None/>
              <a:defRPr sz="1400" b="0">
                <a:solidFill>
                  <a:schemeClr val="tx1"/>
                </a:solidFill>
              </a:defRPr>
            </a:lvl4pPr>
            <a:lvl5pPr marL="0" indent="0" algn="r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5pPr>
            <a:lvl6pPr marL="0" indent="0" algn="r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6pPr>
            <a:lvl7pPr marL="0" indent="0" algn="r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7pPr>
            <a:lvl8pPr marL="0" indent="0" algn="r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8pPr>
            <a:lvl9pPr marL="0" indent="0" algn="r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85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Add text</a:t>
            </a:r>
          </a:p>
        </p:txBody>
      </p:sp>
      <p:sp>
        <p:nvSpPr>
          <p:cNvPr id="7" name="Bildplatzhalter 15">
            <a:extLst>
              <a:ext uri="{FF2B5EF4-FFF2-40B4-BE49-F238E27FC236}">
                <a16:creationId xmlns:a16="http://schemas.microsoft.com/office/drawing/2014/main" id="{3D7FEBCC-B6B1-D6F4-B8C4-39CAEC3BF559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8148638" y="1"/>
            <a:ext cx="4043362" cy="6857999"/>
          </a:xfrm>
        </p:spPr>
        <p:txBody>
          <a:bodyPr tIns="900000" anchor="ctr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00"/>
            </a:lvl1pPr>
          </a:lstStyle>
          <a:p>
            <a:r>
              <a:rPr lang="en-US" dirty="0"/>
              <a:t>Insert picture by clicking on the symbol. </a:t>
            </a:r>
            <a:br>
              <a:rPr lang="en-US" dirty="0"/>
            </a:br>
            <a:br>
              <a:rPr lang="en-US" dirty="0"/>
            </a:br>
            <a:r>
              <a:rPr lang="en-US" dirty="0"/>
              <a:t>Alternatively, copy the image to the clipboard,</a:t>
            </a:r>
            <a:br>
              <a:rPr lang="en-US" dirty="0"/>
            </a:br>
            <a:r>
              <a:rPr lang="en-US" dirty="0"/>
              <a:t> select the placeholder and paste the image.</a:t>
            </a:r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DA2B4EB0-6F81-8A92-AEB6-3A876DF968E9}"/>
              </a:ext>
            </a:extLst>
          </p:cNvPr>
          <p:cNvSpPr/>
          <p:nvPr userDrawn="1"/>
        </p:nvSpPr>
        <p:spPr bwMode="gray">
          <a:xfrm>
            <a:off x="12233756" y="6026150"/>
            <a:ext cx="1963144" cy="828677"/>
          </a:xfrm>
          <a:prstGeom prst="rect">
            <a:avLst/>
          </a:prstGeom>
          <a:solidFill>
            <a:schemeClr val="bg1"/>
          </a:solidFill>
          <a:ln w="6350"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44000" tIns="144000" rIns="144000" bIns="144000" rtlCol="0" anchor="ctr"/>
          <a:lstStyle/>
          <a:p>
            <a:pPr algn="l"/>
            <a:r>
              <a:rPr lang="en-US" sz="1000" b="1" dirty="0">
                <a:solidFill>
                  <a:schemeClr val="tx1"/>
                </a:solidFill>
              </a:rPr>
              <a:t>Logo Color</a:t>
            </a:r>
          </a:p>
          <a:p>
            <a:pPr algn="l"/>
            <a:r>
              <a:rPr lang="en-US" sz="1000" dirty="0">
                <a:solidFill>
                  <a:schemeClr val="tx1"/>
                </a:solidFill>
              </a:rPr>
              <a:t>For light images,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the logo color can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be changed to black.</a:t>
            </a:r>
          </a:p>
        </p:txBody>
      </p:sp>
      <p:sp>
        <p:nvSpPr>
          <p:cNvPr id="9" name="Datumsplatzhalter 8">
            <a:extLst>
              <a:ext uri="{FF2B5EF4-FFF2-40B4-BE49-F238E27FC236}">
                <a16:creationId xmlns:a16="http://schemas.microsoft.com/office/drawing/2014/main" id="{0B1A5CA9-F444-9ABD-A3CA-65CB055B04B9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032D885B-4C5C-44FF-A3CB-A07773E0A1B0}" type="datetime3">
              <a:rPr lang="de-DE" smtClean="0"/>
              <a:t>01/07/2025</a:t>
            </a:fld>
            <a:endParaRPr lang="en-US" dirty="0"/>
          </a:p>
        </p:txBody>
      </p:sp>
      <p:sp>
        <p:nvSpPr>
          <p:cNvPr id="10" name="Fußzeilenplatzhalter 9">
            <a:extLst>
              <a:ext uri="{FF2B5EF4-FFF2-40B4-BE49-F238E27FC236}">
                <a16:creationId xmlns:a16="http://schemas.microsoft.com/office/drawing/2014/main" id="{5110DDBB-783E-176F-3138-CDB539444CF1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US"/>
              <a:t>Name - Title of Presentation</a:t>
            </a:r>
            <a:endParaRPr lang="en-US" dirty="0"/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C1568248-D3ED-9CDD-8765-05A7F7D909A9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776FC98F-84AD-404B-BCCB-49E092AA6DE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SmartArt Placeholder 4">
            <a:extLst>
              <a:ext uri="{FF2B5EF4-FFF2-40B4-BE49-F238E27FC236}">
                <a16:creationId xmlns:a16="http://schemas.microsoft.com/office/drawing/2014/main" id="{CD118D49-289F-F3C3-A4F7-A7BAA877B06B}"/>
              </a:ext>
            </a:extLst>
          </p:cNvPr>
          <p:cNvSpPr>
            <a:spLocks noGrp="1" noChangeAspect="1"/>
          </p:cNvSpPr>
          <p:nvPr>
            <p:ph type="dgm" sz="quarter" idx="21" hasCustomPrompt="1"/>
          </p:nvPr>
        </p:nvSpPr>
        <p:spPr bwMode="gray">
          <a:xfrm>
            <a:off x="11140463" y="6437457"/>
            <a:ext cx="689586" cy="247362"/>
          </a:xfrm>
          <a:custGeom>
            <a:avLst/>
            <a:gdLst>
              <a:gd name="connsiteX0" fmla="*/ 526439 w 689586"/>
              <a:gd name="connsiteY0" fmla="*/ 247 h 247362"/>
              <a:gd name="connsiteX1" fmla="*/ 689586 w 689586"/>
              <a:gd name="connsiteY1" fmla="*/ 247 h 247362"/>
              <a:gd name="connsiteX2" fmla="*/ 689586 w 689586"/>
              <a:gd name="connsiteY2" fmla="*/ 55816 h 247362"/>
              <a:gd name="connsiteX3" fmla="*/ 641876 w 689586"/>
              <a:gd name="connsiteY3" fmla="*/ 55816 h 247362"/>
              <a:gd name="connsiteX4" fmla="*/ 641876 w 689586"/>
              <a:gd name="connsiteY4" fmla="*/ 247362 h 247362"/>
              <a:gd name="connsiteX5" fmla="*/ 574149 w 689586"/>
              <a:gd name="connsiteY5" fmla="*/ 247362 h 247362"/>
              <a:gd name="connsiteX6" fmla="*/ 574149 w 689586"/>
              <a:gd name="connsiteY6" fmla="*/ 55816 h 247362"/>
              <a:gd name="connsiteX7" fmla="*/ 526439 w 689586"/>
              <a:gd name="connsiteY7" fmla="*/ 55816 h 247362"/>
              <a:gd name="connsiteX8" fmla="*/ 442470 w 689586"/>
              <a:gd name="connsiteY8" fmla="*/ 247 h 247362"/>
              <a:gd name="connsiteX9" fmla="*/ 510194 w 689586"/>
              <a:gd name="connsiteY9" fmla="*/ 247 h 247362"/>
              <a:gd name="connsiteX10" fmla="*/ 510194 w 689586"/>
              <a:gd name="connsiteY10" fmla="*/ 247116 h 247362"/>
              <a:gd name="connsiteX11" fmla="*/ 442470 w 689586"/>
              <a:gd name="connsiteY11" fmla="*/ 247116 h 247362"/>
              <a:gd name="connsiteX12" fmla="*/ 248102 w 689586"/>
              <a:gd name="connsiteY12" fmla="*/ 247 h 247362"/>
              <a:gd name="connsiteX13" fmla="*/ 250146 w 689586"/>
              <a:gd name="connsiteY13" fmla="*/ 247 h 247362"/>
              <a:gd name="connsiteX14" fmla="*/ 249899 w 689586"/>
              <a:gd name="connsiteY14" fmla="*/ 247077 h 247362"/>
              <a:gd name="connsiteX15" fmla="*/ 249900 w 689586"/>
              <a:gd name="connsiteY15" fmla="*/ 247078 h 247362"/>
              <a:gd name="connsiteX16" fmla="*/ 249900 w 689586"/>
              <a:gd name="connsiteY16" fmla="*/ 247113 h 247362"/>
              <a:gd name="connsiteX17" fmla="*/ 249899 w 689586"/>
              <a:gd name="connsiteY17" fmla="*/ 247111 h 247362"/>
              <a:gd name="connsiteX18" fmla="*/ 249899 w 689586"/>
              <a:gd name="connsiteY18" fmla="*/ 247113 h 247362"/>
              <a:gd name="connsiteX19" fmla="*/ 249899 w 689586"/>
              <a:gd name="connsiteY19" fmla="*/ 247114 h 247362"/>
              <a:gd name="connsiteX20" fmla="*/ 249899 w 689586"/>
              <a:gd name="connsiteY20" fmla="*/ 247116 h 247362"/>
              <a:gd name="connsiteX21" fmla="*/ 249864 w 689586"/>
              <a:gd name="connsiteY21" fmla="*/ 247116 h 247362"/>
              <a:gd name="connsiteX22" fmla="*/ 249864 w 689586"/>
              <a:gd name="connsiteY22" fmla="*/ 247114 h 247362"/>
              <a:gd name="connsiteX23" fmla="*/ 0 w 689586"/>
              <a:gd name="connsiteY23" fmla="*/ 247114 h 247362"/>
              <a:gd name="connsiteX24" fmla="*/ 7858 w 689586"/>
              <a:gd name="connsiteY24" fmla="*/ 186719 h 247362"/>
              <a:gd name="connsiteX25" fmla="*/ 249861 w 689586"/>
              <a:gd name="connsiteY25" fmla="*/ 247105 h 247362"/>
              <a:gd name="connsiteX26" fmla="*/ 249859 w 689586"/>
              <a:gd name="connsiteY26" fmla="*/ 247095 h 247362"/>
              <a:gd name="connsiteX27" fmla="*/ 24103 w 689586"/>
              <a:gd name="connsiteY27" fmla="*/ 142073 h 247362"/>
              <a:gd name="connsiteX28" fmla="*/ 56837 w 689586"/>
              <a:gd name="connsiteY28" fmla="*/ 90557 h 247362"/>
              <a:gd name="connsiteX29" fmla="*/ 249854 w 689586"/>
              <a:gd name="connsiteY29" fmla="*/ 247076 h 247362"/>
              <a:gd name="connsiteX30" fmla="*/ 249834 w 689586"/>
              <a:gd name="connsiteY30" fmla="*/ 246997 h 247362"/>
              <a:gd name="connsiteX31" fmla="*/ 92849 w 689586"/>
              <a:gd name="connsiteY31" fmla="*/ 55039 h 247362"/>
              <a:gd name="connsiteX32" fmla="*/ 144612 w 689586"/>
              <a:gd name="connsiteY32" fmla="*/ 23078 h 247362"/>
              <a:gd name="connsiteX33" fmla="*/ 249821 w 689586"/>
              <a:gd name="connsiteY33" fmla="*/ 246945 h 247362"/>
              <a:gd name="connsiteX34" fmla="*/ 189750 w 689586"/>
              <a:gd name="connsiteY34" fmla="*/ 7364 h 247362"/>
              <a:gd name="connsiteX35" fmla="*/ 248102 w 689586"/>
              <a:gd name="connsiteY35" fmla="*/ 247 h 247362"/>
              <a:gd name="connsiteX36" fmla="*/ 352898 w 689586"/>
              <a:gd name="connsiteY36" fmla="*/ 0 h 247362"/>
              <a:gd name="connsiteX37" fmla="*/ 430524 w 689586"/>
              <a:gd name="connsiteY37" fmla="*/ 0 h 247362"/>
              <a:gd name="connsiteX38" fmla="*/ 330557 w 689586"/>
              <a:gd name="connsiteY38" fmla="*/ 124315 h 247362"/>
              <a:gd name="connsiteX39" fmla="*/ 431017 w 689586"/>
              <a:gd name="connsiteY39" fmla="*/ 247116 h 247362"/>
              <a:gd name="connsiteX40" fmla="*/ 355716 w 689586"/>
              <a:gd name="connsiteY40" fmla="*/ 247116 h 247362"/>
              <a:gd name="connsiteX41" fmla="*/ 266144 w 689586"/>
              <a:gd name="connsiteY41" fmla="*/ 150954 h 247362"/>
              <a:gd name="connsiteX42" fmla="*/ 266144 w 689586"/>
              <a:gd name="connsiteY42" fmla="*/ 95916 h 2473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</a:cxnLst>
            <a:rect l="l" t="t" r="r" b="b"/>
            <a:pathLst>
              <a:path w="689586" h="247362">
                <a:moveTo>
                  <a:pt x="526439" y="247"/>
                </a:moveTo>
                <a:lnTo>
                  <a:pt x="689586" y="247"/>
                </a:lnTo>
                <a:lnTo>
                  <a:pt x="689586" y="55816"/>
                </a:lnTo>
                <a:lnTo>
                  <a:pt x="641876" y="55816"/>
                </a:lnTo>
                <a:lnTo>
                  <a:pt x="641876" y="247362"/>
                </a:lnTo>
                <a:lnTo>
                  <a:pt x="574149" y="247362"/>
                </a:lnTo>
                <a:lnTo>
                  <a:pt x="574149" y="55816"/>
                </a:lnTo>
                <a:lnTo>
                  <a:pt x="526439" y="55816"/>
                </a:lnTo>
                <a:close/>
                <a:moveTo>
                  <a:pt x="442470" y="247"/>
                </a:moveTo>
                <a:lnTo>
                  <a:pt x="510194" y="247"/>
                </a:lnTo>
                <a:lnTo>
                  <a:pt x="510194" y="247116"/>
                </a:lnTo>
                <a:lnTo>
                  <a:pt x="442470" y="247116"/>
                </a:lnTo>
                <a:close/>
                <a:moveTo>
                  <a:pt x="248102" y="247"/>
                </a:moveTo>
                <a:lnTo>
                  <a:pt x="250146" y="247"/>
                </a:lnTo>
                <a:lnTo>
                  <a:pt x="249899" y="247077"/>
                </a:lnTo>
                <a:lnTo>
                  <a:pt x="249900" y="247078"/>
                </a:lnTo>
                <a:lnTo>
                  <a:pt x="249900" y="247113"/>
                </a:lnTo>
                <a:lnTo>
                  <a:pt x="249899" y="247111"/>
                </a:lnTo>
                <a:lnTo>
                  <a:pt x="249899" y="247113"/>
                </a:lnTo>
                <a:lnTo>
                  <a:pt x="249899" y="247114"/>
                </a:lnTo>
                <a:lnTo>
                  <a:pt x="249899" y="247116"/>
                </a:lnTo>
                <a:lnTo>
                  <a:pt x="249864" y="247116"/>
                </a:lnTo>
                <a:lnTo>
                  <a:pt x="249864" y="247114"/>
                </a:lnTo>
                <a:lnTo>
                  <a:pt x="0" y="247114"/>
                </a:lnTo>
                <a:cubicBezTo>
                  <a:pt x="246" y="226289"/>
                  <a:pt x="2784" y="205994"/>
                  <a:pt x="7858" y="186719"/>
                </a:cubicBezTo>
                <a:lnTo>
                  <a:pt x="249861" y="247105"/>
                </a:lnTo>
                <a:lnTo>
                  <a:pt x="249859" y="247095"/>
                </a:lnTo>
                <a:lnTo>
                  <a:pt x="24103" y="142073"/>
                </a:lnTo>
                <a:cubicBezTo>
                  <a:pt x="32736" y="123539"/>
                  <a:pt x="43906" y="106273"/>
                  <a:pt x="56837" y="90557"/>
                </a:cubicBezTo>
                <a:lnTo>
                  <a:pt x="249854" y="247076"/>
                </a:lnTo>
                <a:lnTo>
                  <a:pt x="249834" y="246997"/>
                </a:lnTo>
                <a:lnTo>
                  <a:pt x="92849" y="55039"/>
                </a:lnTo>
                <a:cubicBezTo>
                  <a:pt x="108600" y="42353"/>
                  <a:pt x="125831" y="31712"/>
                  <a:pt x="144612" y="23078"/>
                </a:cubicBezTo>
                <a:lnTo>
                  <a:pt x="249821" y="246945"/>
                </a:lnTo>
                <a:lnTo>
                  <a:pt x="189750" y="7364"/>
                </a:lnTo>
                <a:cubicBezTo>
                  <a:pt x="208531" y="2784"/>
                  <a:pt x="228052" y="247"/>
                  <a:pt x="248102" y="247"/>
                </a:cubicBezTo>
                <a:close/>
                <a:moveTo>
                  <a:pt x="352898" y="0"/>
                </a:moveTo>
                <a:lnTo>
                  <a:pt x="430524" y="0"/>
                </a:lnTo>
                <a:lnTo>
                  <a:pt x="330557" y="124315"/>
                </a:lnTo>
                <a:lnTo>
                  <a:pt x="431017" y="247116"/>
                </a:lnTo>
                <a:lnTo>
                  <a:pt x="355716" y="247116"/>
                </a:lnTo>
                <a:lnTo>
                  <a:pt x="266144" y="150954"/>
                </a:lnTo>
                <a:lnTo>
                  <a:pt x="266144" y="95916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r>
              <a:rPr lang="en-US" noProof="1"/>
              <a:t> dsafasdfadsfdsfasdfsadfasdfadsf sdaf asdfasdf</a:t>
            </a:r>
          </a:p>
        </p:txBody>
      </p:sp>
    </p:spTree>
    <p:extLst>
      <p:ext uri="{BB962C8B-B14F-4D97-AF65-F5344CB8AC3E}">
        <p14:creationId xmlns:p14="http://schemas.microsoft.com/office/powerpoint/2010/main" val="3156005636"/>
      </p:ext>
    </p:extLst>
  </p:cSld>
  <p:clrMapOvr>
    <a:masterClrMapping/>
  </p:clrMapOvr>
  <p:transition>
    <p:fade/>
  </p:transition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ighlight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15">
            <a:extLst>
              <a:ext uri="{FF2B5EF4-FFF2-40B4-BE49-F238E27FC236}">
                <a16:creationId xmlns:a16="http://schemas.microsoft.com/office/drawing/2014/main" id="{3D7FEBCC-B6B1-D6F4-B8C4-39CAEC3BF559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0" y="0"/>
            <a:ext cx="12192000" cy="6857999"/>
          </a:xfrm>
          <a:solidFill>
            <a:schemeClr val="tx1"/>
          </a:solidFill>
        </p:spPr>
        <p:txBody>
          <a:bodyPr tIns="0" rIns="360000" anchor="ctr"/>
          <a:lstStyle>
            <a:lvl1pPr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opy the image to the clipboard,</a:t>
            </a:r>
            <a:br>
              <a:rPr lang="en-US" dirty="0"/>
            </a:br>
            <a:r>
              <a:rPr lang="en-US" dirty="0"/>
              <a:t> select the placeholder </a:t>
            </a:r>
            <a:br>
              <a:rPr lang="en-US" dirty="0"/>
            </a:br>
            <a:r>
              <a:rPr lang="en-US" dirty="0"/>
              <a:t>and paste the image.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705B1CE1-6CC9-F59B-4D70-B6BAA153740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1" y="0"/>
            <a:ext cx="9875838" cy="6858000"/>
          </a:xfrm>
          <a:gradFill>
            <a:gsLst>
              <a:gs pos="0">
                <a:schemeClr val="tx1">
                  <a:alpha val="50000"/>
                </a:schemeClr>
              </a:gs>
              <a:gs pos="45000">
                <a:schemeClr val="tx1">
                  <a:alpha val="0"/>
                </a:schemeClr>
              </a:gs>
            </a:gsLst>
            <a:lin ang="3600000" scaled="0"/>
          </a:gradFill>
        </p:spPr>
        <p:txBody>
          <a:bodyPr lIns="370800" tIns="367200"/>
          <a:lstStyle>
            <a:lvl1pPr marL="0" indent="0">
              <a:buClrTx/>
              <a:buFont typeface="Franklin Gothic Medium" panose="020B0603020102020204" pitchFamily="34" charset="0"/>
              <a:buNone/>
              <a:defRPr sz="5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Add Title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7B8292EB-A174-4AF5-E760-21B84099238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8148638" y="5265738"/>
            <a:ext cx="3671887" cy="1011236"/>
          </a:xfrm>
        </p:spPr>
        <p:txBody>
          <a:bodyPr anchor="t"/>
          <a:lstStyle>
            <a:lvl1pPr algn="r">
              <a:lnSpc>
                <a:spcPct val="85000"/>
              </a:lnSpc>
              <a:spcBef>
                <a:spcPts val="300"/>
              </a:spcBef>
              <a:spcAft>
                <a:spcPts val="300"/>
              </a:spcAft>
              <a:defRPr sz="2000" b="1">
                <a:solidFill>
                  <a:schemeClr val="bg1"/>
                </a:solidFill>
              </a:defRPr>
            </a:lvl1pPr>
            <a:lvl2pPr marL="0" indent="0" algn="r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>
                <a:solidFill>
                  <a:schemeClr val="bg1"/>
                </a:solidFill>
              </a:defRPr>
            </a:lvl2pPr>
            <a:lvl3pPr marL="0" indent="0" algn="r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>
                <a:solidFill>
                  <a:schemeClr val="bg1"/>
                </a:solidFill>
              </a:defRPr>
            </a:lvl3pPr>
            <a:lvl4pPr marL="0" indent="0" algn="r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None/>
              <a:defRPr sz="1600" b="0">
                <a:solidFill>
                  <a:schemeClr val="bg1"/>
                </a:solidFill>
              </a:defRPr>
            </a:lvl4pPr>
            <a:lvl5pPr marL="0" indent="0" algn="r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>
                <a:solidFill>
                  <a:schemeClr val="bg1"/>
                </a:solidFill>
              </a:defRPr>
            </a:lvl5pPr>
            <a:lvl6pPr marL="0" indent="0" algn="r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>
                <a:solidFill>
                  <a:schemeClr val="bg1"/>
                </a:solidFill>
              </a:defRPr>
            </a:lvl6pPr>
            <a:lvl7pPr marL="0" indent="0" algn="r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>
                <a:solidFill>
                  <a:schemeClr val="bg1"/>
                </a:solidFill>
              </a:defRPr>
            </a:lvl7pPr>
            <a:lvl8pPr marL="0" indent="0" algn="r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>
                <a:solidFill>
                  <a:schemeClr val="bg1"/>
                </a:solidFill>
              </a:defRPr>
            </a:lvl8pPr>
            <a:lvl9pPr marL="0" indent="0" algn="r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25E8BE99-BBFE-1166-A5A4-5E8F865BC339}"/>
              </a:ext>
            </a:extLst>
          </p:cNvPr>
          <p:cNvSpPr/>
          <p:nvPr userDrawn="1"/>
        </p:nvSpPr>
        <p:spPr bwMode="gray">
          <a:xfrm>
            <a:off x="12233756" y="6026150"/>
            <a:ext cx="1963144" cy="828677"/>
          </a:xfrm>
          <a:prstGeom prst="rect">
            <a:avLst/>
          </a:prstGeom>
          <a:solidFill>
            <a:schemeClr val="bg1"/>
          </a:solidFill>
          <a:ln w="6350"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44000" tIns="144000" rIns="144000" bIns="144000" rtlCol="0" anchor="ctr"/>
          <a:lstStyle/>
          <a:p>
            <a:pPr algn="l"/>
            <a:r>
              <a:rPr lang="en-US" sz="1000" b="1" dirty="0">
                <a:solidFill>
                  <a:schemeClr val="tx1"/>
                </a:solidFill>
              </a:rPr>
              <a:t>Logo Color</a:t>
            </a:r>
          </a:p>
          <a:p>
            <a:pPr algn="l"/>
            <a:r>
              <a:rPr lang="en-US" sz="1000" dirty="0">
                <a:solidFill>
                  <a:schemeClr val="tx1"/>
                </a:solidFill>
              </a:rPr>
              <a:t>For light images,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the logo color can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be changed to black.</a:t>
            </a:r>
          </a:p>
        </p:txBody>
      </p:sp>
      <p:sp>
        <p:nvSpPr>
          <p:cNvPr id="9" name="Datumsplatzhalter 8">
            <a:extLst>
              <a:ext uri="{FF2B5EF4-FFF2-40B4-BE49-F238E27FC236}">
                <a16:creationId xmlns:a16="http://schemas.microsoft.com/office/drawing/2014/main" id="{475F87F0-97BD-75C5-3B01-5453495E2DAF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5838F81-95BD-4883-B6AF-236BB9363614}" type="datetime3">
              <a:rPr lang="de-DE" smtClean="0"/>
              <a:t>01/07/2025</a:t>
            </a:fld>
            <a:endParaRPr lang="en-US" dirty="0"/>
          </a:p>
        </p:txBody>
      </p:sp>
      <p:sp>
        <p:nvSpPr>
          <p:cNvPr id="10" name="Fußzeilenplatzhalter 9">
            <a:extLst>
              <a:ext uri="{FF2B5EF4-FFF2-40B4-BE49-F238E27FC236}">
                <a16:creationId xmlns:a16="http://schemas.microsoft.com/office/drawing/2014/main" id="{69DC4A23-8BC7-B256-93F3-F3D72EA72D2E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Name - Title of Presentation</a:t>
            </a:r>
            <a:endParaRPr lang="en-US" dirty="0"/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B12BEC3C-F478-347A-87BC-A57694C03C4A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76FC98F-84AD-404B-BCCB-49E092AA6DE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SmartArt Placeholder 4">
            <a:extLst>
              <a:ext uri="{FF2B5EF4-FFF2-40B4-BE49-F238E27FC236}">
                <a16:creationId xmlns:a16="http://schemas.microsoft.com/office/drawing/2014/main" id="{5CFA640E-0C3B-EC08-4180-576AB4B63F75}"/>
              </a:ext>
            </a:extLst>
          </p:cNvPr>
          <p:cNvSpPr>
            <a:spLocks noGrp="1" noChangeAspect="1"/>
          </p:cNvSpPr>
          <p:nvPr>
            <p:ph type="dgm" sz="quarter" idx="21" hasCustomPrompt="1"/>
          </p:nvPr>
        </p:nvSpPr>
        <p:spPr bwMode="gray">
          <a:xfrm>
            <a:off x="11140463" y="6437457"/>
            <a:ext cx="689586" cy="247362"/>
          </a:xfrm>
          <a:custGeom>
            <a:avLst/>
            <a:gdLst>
              <a:gd name="connsiteX0" fmla="*/ 526439 w 689586"/>
              <a:gd name="connsiteY0" fmla="*/ 247 h 247362"/>
              <a:gd name="connsiteX1" fmla="*/ 689586 w 689586"/>
              <a:gd name="connsiteY1" fmla="*/ 247 h 247362"/>
              <a:gd name="connsiteX2" fmla="*/ 689586 w 689586"/>
              <a:gd name="connsiteY2" fmla="*/ 55816 h 247362"/>
              <a:gd name="connsiteX3" fmla="*/ 641876 w 689586"/>
              <a:gd name="connsiteY3" fmla="*/ 55816 h 247362"/>
              <a:gd name="connsiteX4" fmla="*/ 641876 w 689586"/>
              <a:gd name="connsiteY4" fmla="*/ 247362 h 247362"/>
              <a:gd name="connsiteX5" fmla="*/ 574149 w 689586"/>
              <a:gd name="connsiteY5" fmla="*/ 247362 h 247362"/>
              <a:gd name="connsiteX6" fmla="*/ 574149 w 689586"/>
              <a:gd name="connsiteY6" fmla="*/ 55816 h 247362"/>
              <a:gd name="connsiteX7" fmla="*/ 526439 w 689586"/>
              <a:gd name="connsiteY7" fmla="*/ 55816 h 247362"/>
              <a:gd name="connsiteX8" fmla="*/ 442470 w 689586"/>
              <a:gd name="connsiteY8" fmla="*/ 247 h 247362"/>
              <a:gd name="connsiteX9" fmla="*/ 510194 w 689586"/>
              <a:gd name="connsiteY9" fmla="*/ 247 h 247362"/>
              <a:gd name="connsiteX10" fmla="*/ 510194 w 689586"/>
              <a:gd name="connsiteY10" fmla="*/ 247116 h 247362"/>
              <a:gd name="connsiteX11" fmla="*/ 442470 w 689586"/>
              <a:gd name="connsiteY11" fmla="*/ 247116 h 247362"/>
              <a:gd name="connsiteX12" fmla="*/ 248102 w 689586"/>
              <a:gd name="connsiteY12" fmla="*/ 247 h 247362"/>
              <a:gd name="connsiteX13" fmla="*/ 250146 w 689586"/>
              <a:gd name="connsiteY13" fmla="*/ 247 h 247362"/>
              <a:gd name="connsiteX14" fmla="*/ 249899 w 689586"/>
              <a:gd name="connsiteY14" fmla="*/ 247077 h 247362"/>
              <a:gd name="connsiteX15" fmla="*/ 249900 w 689586"/>
              <a:gd name="connsiteY15" fmla="*/ 247078 h 247362"/>
              <a:gd name="connsiteX16" fmla="*/ 249900 w 689586"/>
              <a:gd name="connsiteY16" fmla="*/ 247113 h 247362"/>
              <a:gd name="connsiteX17" fmla="*/ 249899 w 689586"/>
              <a:gd name="connsiteY17" fmla="*/ 247111 h 247362"/>
              <a:gd name="connsiteX18" fmla="*/ 249899 w 689586"/>
              <a:gd name="connsiteY18" fmla="*/ 247113 h 247362"/>
              <a:gd name="connsiteX19" fmla="*/ 249899 w 689586"/>
              <a:gd name="connsiteY19" fmla="*/ 247114 h 247362"/>
              <a:gd name="connsiteX20" fmla="*/ 249899 w 689586"/>
              <a:gd name="connsiteY20" fmla="*/ 247116 h 247362"/>
              <a:gd name="connsiteX21" fmla="*/ 249864 w 689586"/>
              <a:gd name="connsiteY21" fmla="*/ 247116 h 247362"/>
              <a:gd name="connsiteX22" fmla="*/ 249864 w 689586"/>
              <a:gd name="connsiteY22" fmla="*/ 247114 h 247362"/>
              <a:gd name="connsiteX23" fmla="*/ 0 w 689586"/>
              <a:gd name="connsiteY23" fmla="*/ 247114 h 247362"/>
              <a:gd name="connsiteX24" fmla="*/ 7858 w 689586"/>
              <a:gd name="connsiteY24" fmla="*/ 186719 h 247362"/>
              <a:gd name="connsiteX25" fmla="*/ 249861 w 689586"/>
              <a:gd name="connsiteY25" fmla="*/ 247105 h 247362"/>
              <a:gd name="connsiteX26" fmla="*/ 249859 w 689586"/>
              <a:gd name="connsiteY26" fmla="*/ 247095 h 247362"/>
              <a:gd name="connsiteX27" fmla="*/ 24103 w 689586"/>
              <a:gd name="connsiteY27" fmla="*/ 142073 h 247362"/>
              <a:gd name="connsiteX28" fmla="*/ 56837 w 689586"/>
              <a:gd name="connsiteY28" fmla="*/ 90557 h 247362"/>
              <a:gd name="connsiteX29" fmla="*/ 249854 w 689586"/>
              <a:gd name="connsiteY29" fmla="*/ 247076 h 247362"/>
              <a:gd name="connsiteX30" fmla="*/ 249834 w 689586"/>
              <a:gd name="connsiteY30" fmla="*/ 246997 h 247362"/>
              <a:gd name="connsiteX31" fmla="*/ 92849 w 689586"/>
              <a:gd name="connsiteY31" fmla="*/ 55039 h 247362"/>
              <a:gd name="connsiteX32" fmla="*/ 144612 w 689586"/>
              <a:gd name="connsiteY32" fmla="*/ 23078 h 247362"/>
              <a:gd name="connsiteX33" fmla="*/ 249821 w 689586"/>
              <a:gd name="connsiteY33" fmla="*/ 246945 h 247362"/>
              <a:gd name="connsiteX34" fmla="*/ 189750 w 689586"/>
              <a:gd name="connsiteY34" fmla="*/ 7364 h 247362"/>
              <a:gd name="connsiteX35" fmla="*/ 248102 w 689586"/>
              <a:gd name="connsiteY35" fmla="*/ 247 h 247362"/>
              <a:gd name="connsiteX36" fmla="*/ 352898 w 689586"/>
              <a:gd name="connsiteY36" fmla="*/ 0 h 247362"/>
              <a:gd name="connsiteX37" fmla="*/ 430524 w 689586"/>
              <a:gd name="connsiteY37" fmla="*/ 0 h 247362"/>
              <a:gd name="connsiteX38" fmla="*/ 330557 w 689586"/>
              <a:gd name="connsiteY38" fmla="*/ 124315 h 247362"/>
              <a:gd name="connsiteX39" fmla="*/ 431017 w 689586"/>
              <a:gd name="connsiteY39" fmla="*/ 247116 h 247362"/>
              <a:gd name="connsiteX40" fmla="*/ 355716 w 689586"/>
              <a:gd name="connsiteY40" fmla="*/ 247116 h 247362"/>
              <a:gd name="connsiteX41" fmla="*/ 266144 w 689586"/>
              <a:gd name="connsiteY41" fmla="*/ 150954 h 247362"/>
              <a:gd name="connsiteX42" fmla="*/ 266144 w 689586"/>
              <a:gd name="connsiteY42" fmla="*/ 95916 h 2473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</a:cxnLst>
            <a:rect l="l" t="t" r="r" b="b"/>
            <a:pathLst>
              <a:path w="689586" h="247362">
                <a:moveTo>
                  <a:pt x="526439" y="247"/>
                </a:moveTo>
                <a:lnTo>
                  <a:pt x="689586" y="247"/>
                </a:lnTo>
                <a:lnTo>
                  <a:pt x="689586" y="55816"/>
                </a:lnTo>
                <a:lnTo>
                  <a:pt x="641876" y="55816"/>
                </a:lnTo>
                <a:lnTo>
                  <a:pt x="641876" y="247362"/>
                </a:lnTo>
                <a:lnTo>
                  <a:pt x="574149" y="247362"/>
                </a:lnTo>
                <a:lnTo>
                  <a:pt x="574149" y="55816"/>
                </a:lnTo>
                <a:lnTo>
                  <a:pt x="526439" y="55816"/>
                </a:lnTo>
                <a:close/>
                <a:moveTo>
                  <a:pt x="442470" y="247"/>
                </a:moveTo>
                <a:lnTo>
                  <a:pt x="510194" y="247"/>
                </a:lnTo>
                <a:lnTo>
                  <a:pt x="510194" y="247116"/>
                </a:lnTo>
                <a:lnTo>
                  <a:pt x="442470" y="247116"/>
                </a:lnTo>
                <a:close/>
                <a:moveTo>
                  <a:pt x="248102" y="247"/>
                </a:moveTo>
                <a:lnTo>
                  <a:pt x="250146" y="247"/>
                </a:lnTo>
                <a:lnTo>
                  <a:pt x="249899" y="247077"/>
                </a:lnTo>
                <a:lnTo>
                  <a:pt x="249900" y="247078"/>
                </a:lnTo>
                <a:lnTo>
                  <a:pt x="249900" y="247113"/>
                </a:lnTo>
                <a:lnTo>
                  <a:pt x="249899" y="247111"/>
                </a:lnTo>
                <a:lnTo>
                  <a:pt x="249899" y="247113"/>
                </a:lnTo>
                <a:lnTo>
                  <a:pt x="249899" y="247114"/>
                </a:lnTo>
                <a:lnTo>
                  <a:pt x="249899" y="247116"/>
                </a:lnTo>
                <a:lnTo>
                  <a:pt x="249864" y="247116"/>
                </a:lnTo>
                <a:lnTo>
                  <a:pt x="249864" y="247114"/>
                </a:lnTo>
                <a:lnTo>
                  <a:pt x="0" y="247114"/>
                </a:lnTo>
                <a:cubicBezTo>
                  <a:pt x="246" y="226289"/>
                  <a:pt x="2784" y="205994"/>
                  <a:pt x="7858" y="186719"/>
                </a:cubicBezTo>
                <a:lnTo>
                  <a:pt x="249861" y="247105"/>
                </a:lnTo>
                <a:lnTo>
                  <a:pt x="249859" y="247095"/>
                </a:lnTo>
                <a:lnTo>
                  <a:pt x="24103" y="142073"/>
                </a:lnTo>
                <a:cubicBezTo>
                  <a:pt x="32736" y="123539"/>
                  <a:pt x="43906" y="106273"/>
                  <a:pt x="56837" y="90557"/>
                </a:cubicBezTo>
                <a:lnTo>
                  <a:pt x="249854" y="247076"/>
                </a:lnTo>
                <a:lnTo>
                  <a:pt x="249834" y="246997"/>
                </a:lnTo>
                <a:lnTo>
                  <a:pt x="92849" y="55039"/>
                </a:lnTo>
                <a:cubicBezTo>
                  <a:pt x="108600" y="42353"/>
                  <a:pt x="125831" y="31712"/>
                  <a:pt x="144612" y="23078"/>
                </a:cubicBezTo>
                <a:lnTo>
                  <a:pt x="249821" y="246945"/>
                </a:lnTo>
                <a:lnTo>
                  <a:pt x="189750" y="7364"/>
                </a:lnTo>
                <a:cubicBezTo>
                  <a:pt x="208531" y="2784"/>
                  <a:pt x="228052" y="247"/>
                  <a:pt x="248102" y="247"/>
                </a:cubicBezTo>
                <a:close/>
                <a:moveTo>
                  <a:pt x="352898" y="0"/>
                </a:moveTo>
                <a:lnTo>
                  <a:pt x="430524" y="0"/>
                </a:lnTo>
                <a:lnTo>
                  <a:pt x="330557" y="124315"/>
                </a:lnTo>
                <a:lnTo>
                  <a:pt x="431017" y="247116"/>
                </a:lnTo>
                <a:lnTo>
                  <a:pt x="355716" y="247116"/>
                </a:lnTo>
                <a:lnTo>
                  <a:pt x="266144" y="150954"/>
                </a:lnTo>
                <a:lnTo>
                  <a:pt x="266144" y="95916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r>
              <a:rPr lang="en-US" noProof="1"/>
              <a:t> dsafasdfadsfdsfasdfsadfasdfadsf sdaf asdfasdf</a:t>
            </a:r>
          </a:p>
        </p:txBody>
      </p:sp>
    </p:spTree>
    <p:extLst>
      <p:ext uri="{BB962C8B-B14F-4D97-AF65-F5344CB8AC3E}">
        <p14:creationId xmlns:p14="http://schemas.microsoft.com/office/powerpoint/2010/main" val="1128622433"/>
      </p:ext>
    </p:extLst>
  </p:cSld>
  <p:clrMapOvr>
    <a:masterClrMapping/>
  </p:clrMapOvr>
  <p:transition>
    <p:fade/>
  </p:transition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ighlight Pictur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15">
            <a:extLst>
              <a:ext uri="{FF2B5EF4-FFF2-40B4-BE49-F238E27FC236}">
                <a16:creationId xmlns:a16="http://schemas.microsoft.com/office/drawing/2014/main" id="{3D7FEBCC-B6B1-D6F4-B8C4-39CAEC3BF559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0" y="0"/>
            <a:ext cx="12192000" cy="6857999"/>
          </a:xfrm>
          <a:solidFill>
            <a:schemeClr val="tx1"/>
          </a:solidFill>
        </p:spPr>
        <p:txBody>
          <a:bodyPr tIns="0" rIns="360000" anchor="ctr"/>
          <a:lstStyle>
            <a:lvl1pPr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opy the image to the clipboard,</a:t>
            </a:r>
            <a:br>
              <a:rPr lang="en-US" dirty="0"/>
            </a:br>
            <a:r>
              <a:rPr lang="en-US" dirty="0"/>
              <a:t> select the placeholder </a:t>
            </a:r>
            <a:br>
              <a:rPr lang="en-US" dirty="0"/>
            </a:br>
            <a:r>
              <a:rPr lang="en-US" dirty="0"/>
              <a:t>and paste the image.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705B1CE1-6CC9-F59B-4D70-B6BAA153740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1" y="0"/>
            <a:ext cx="9875838" cy="6858000"/>
          </a:xfrm>
          <a:gradFill>
            <a:gsLst>
              <a:gs pos="0">
                <a:schemeClr val="tx1">
                  <a:alpha val="50000"/>
                </a:schemeClr>
              </a:gs>
              <a:gs pos="45000">
                <a:schemeClr val="tx1">
                  <a:alpha val="0"/>
                </a:schemeClr>
              </a:gs>
            </a:gsLst>
            <a:lin ang="3600000" scaled="0"/>
          </a:gradFill>
        </p:spPr>
        <p:txBody>
          <a:bodyPr lIns="370800" tIns="367200"/>
          <a:lstStyle>
            <a:lvl1pPr marL="0" indent="0">
              <a:buClrTx/>
              <a:buFont typeface="Franklin Gothic Medium" panose="020B0603020102020204" pitchFamily="34" charset="0"/>
              <a:buNone/>
              <a:defRPr sz="35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Add Title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F74B639C-9221-9BDD-0103-AF80E5F4FC6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71475" y="2816225"/>
            <a:ext cx="3671888" cy="223361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Tx/>
              <a:defRPr>
                <a:solidFill>
                  <a:schemeClr val="bg1"/>
                </a:solidFill>
              </a:defRPr>
            </a:lvl2pPr>
            <a:lvl3pPr>
              <a:buClrTx/>
              <a:defRPr>
                <a:solidFill>
                  <a:schemeClr val="bg1"/>
                </a:solidFill>
              </a:defRPr>
            </a:lvl3pPr>
            <a:lvl4pPr>
              <a:buClrTx/>
              <a:defRPr>
                <a:solidFill>
                  <a:schemeClr val="bg1"/>
                </a:solidFill>
              </a:defRPr>
            </a:lvl4pPr>
            <a:lvl5pPr>
              <a:buClrTx/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BEA6A5AB-5F58-422C-FC11-9570CAC5B5E8}"/>
              </a:ext>
            </a:extLst>
          </p:cNvPr>
          <p:cNvSpPr/>
          <p:nvPr userDrawn="1"/>
        </p:nvSpPr>
        <p:spPr bwMode="gray">
          <a:xfrm>
            <a:off x="12233756" y="6026150"/>
            <a:ext cx="1963144" cy="828677"/>
          </a:xfrm>
          <a:prstGeom prst="rect">
            <a:avLst/>
          </a:prstGeom>
          <a:solidFill>
            <a:schemeClr val="bg1"/>
          </a:solidFill>
          <a:ln w="6350"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44000" tIns="144000" rIns="144000" bIns="144000" rtlCol="0" anchor="ctr"/>
          <a:lstStyle/>
          <a:p>
            <a:pPr algn="l"/>
            <a:r>
              <a:rPr lang="en-US" sz="1000" b="1" dirty="0">
                <a:solidFill>
                  <a:schemeClr val="tx1"/>
                </a:solidFill>
              </a:rPr>
              <a:t>Logo Color</a:t>
            </a:r>
          </a:p>
          <a:p>
            <a:pPr algn="l"/>
            <a:r>
              <a:rPr lang="en-US" sz="1000" dirty="0">
                <a:solidFill>
                  <a:schemeClr val="tx1"/>
                </a:solidFill>
              </a:rPr>
              <a:t>For light images,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the logo color can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be changed to black.</a:t>
            </a:r>
          </a:p>
        </p:txBody>
      </p:sp>
      <p:sp>
        <p:nvSpPr>
          <p:cNvPr id="9" name="Datumsplatzhalter 8">
            <a:extLst>
              <a:ext uri="{FF2B5EF4-FFF2-40B4-BE49-F238E27FC236}">
                <a16:creationId xmlns:a16="http://schemas.microsoft.com/office/drawing/2014/main" id="{D1980954-6FA1-FA07-4041-D754784A207D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CD594B4-FAA6-48FC-8521-E3442E1753B1}" type="datetime3">
              <a:rPr lang="de-DE" smtClean="0"/>
              <a:t>01/07/2025</a:t>
            </a:fld>
            <a:endParaRPr lang="en-US" dirty="0"/>
          </a:p>
        </p:txBody>
      </p:sp>
      <p:sp>
        <p:nvSpPr>
          <p:cNvPr id="10" name="Fußzeilenplatzhalter 9">
            <a:extLst>
              <a:ext uri="{FF2B5EF4-FFF2-40B4-BE49-F238E27FC236}">
                <a16:creationId xmlns:a16="http://schemas.microsoft.com/office/drawing/2014/main" id="{8BB377EE-E522-561C-164E-DE25C9BDA1C0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Name - Title of Presentation</a:t>
            </a:r>
            <a:endParaRPr lang="en-US" dirty="0"/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B544A298-CA43-241E-F64B-02F6BEC45A01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76FC98F-84AD-404B-BCCB-49E092AA6DE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SmartArt Placeholder 4">
            <a:extLst>
              <a:ext uri="{FF2B5EF4-FFF2-40B4-BE49-F238E27FC236}">
                <a16:creationId xmlns:a16="http://schemas.microsoft.com/office/drawing/2014/main" id="{5EB352FB-5D9C-29FF-9EFE-4F1988C355BE}"/>
              </a:ext>
            </a:extLst>
          </p:cNvPr>
          <p:cNvSpPr>
            <a:spLocks noGrp="1" noChangeAspect="1"/>
          </p:cNvSpPr>
          <p:nvPr>
            <p:ph type="dgm" sz="quarter" idx="21" hasCustomPrompt="1"/>
          </p:nvPr>
        </p:nvSpPr>
        <p:spPr bwMode="gray">
          <a:xfrm>
            <a:off x="11140463" y="6437457"/>
            <a:ext cx="689586" cy="247362"/>
          </a:xfrm>
          <a:custGeom>
            <a:avLst/>
            <a:gdLst>
              <a:gd name="connsiteX0" fmla="*/ 526439 w 689586"/>
              <a:gd name="connsiteY0" fmla="*/ 247 h 247362"/>
              <a:gd name="connsiteX1" fmla="*/ 689586 w 689586"/>
              <a:gd name="connsiteY1" fmla="*/ 247 h 247362"/>
              <a:gd name="connsiteX2" fmla="*/ 689586 w 689586"/>
              <a:gd name="connsiteY2" fmla="*/ 55816 h 247362"/>
              <a:gd name="connsiteX3" fmla="*/ 641876 w 689586"/>
              <a:gd name="connsiteY3" fmla="*/ 55816 h 247362"/>
              <a:gd name="connsiteX4" fmla="*/ 641876 w 689586"/>
              <a:gd name="connsiteY4" fmla="*/ 247362 h 247362"/>
              <a:gd name="connsiteX5" fmla="*/ 574149 w 689586"/>
              <a:gd name="connsiteY5" fmla="*/ 247362 h 247362"/>
              <a:gd name="connsiteX6" fmla="*/ 574149 w 689586"/>
              <a:gd name="connsiteY6" fmla="*/ 55816 h 247362"/>
              <a:gd name="connsiteX7" fmla="*/ 526439 w 689586"/>
              <a:gd name="connsiteY7" fmla="*/ 55816 h 247362"/>
              <a:gd name="connsiteX8" fmla="*/ 442470 w 689586"/>
              <a:gd name="connsiteY8" fmla="*/ 247 h 247362"/>
              <a:gd name="connsiteX9" fmla="*/ 510194 w 689586"/>
              <a:gd name="connsiteY9" fmla="*/ 247 h 247362"/>
              <a:gd name="connsiteX10" fmla="*/ 510194 w 689586"/>
              <a:gd name="connsiteY10" fmla="*/ 247116 h 247362"/>
              <a:gd name="connsiteX11" fmla="*/ 442470 w 689586"/>
              <a:gd name="connsiteY11" fmla="*/ 247116 h 247362"/>
              <a:gd name="connsiteX12" fmla="*/ 248102 w 689586"/>
              <a:gd name="connsiteY12" fmla="*/ 247 h 247362"/>
              <a:gd name="connsiteX13" fmla="*/ 250146 w 689586"/>
              <a:gd name="connsiteY13" fmla="*/ 247 h 247362"/>
              <a:gd name="connsiteX14" fmla="*/ 249899 w 689586"/>
              <a:gd name="connsiteY14" fmla="*/ 247077 h 247362"/>
              <a:gd name="connsiteX15" fmla="*/ 249900 w 689586"/>
              <a:gd name="connsiteY15" fmla="*/ 247078 h 247362"/>
              <a:gd name="connsiteX16" fmla="*/ 249900 w 689586"/>
              <a:gd name="connsiteY16" fmla="*/ 247113 h 247362"/>
              <a:gd name="connsiteX17" fmla="*/ 249899 w 689586"/>
              <a:gd name="connsiteY17" fmla="*/ 247111 h 247362"/>
              <a:gd name="connsiteX18" fmla="*/ 249899 w 689586"/>
              <a:gd name="connsiteY18" fmla="*/ 247113 h 247362"/>
              <a:gd name="connsiteX19" fmla="*/ 249899 w 689586"/>
              <a:gd name="connsiteY19" fmla="*/ 247114 h 247362"/>
              <a:gd name="connsiteX20" fmla="*/ 249899 w 689586"/>
              <a:gd name="connsiteY20" fmla="*/ 247116 h 247362"/>
              <a:gd name="connsiteX21" fmla="*/ 249864 w 689586"/>
              <a:gd name="connsiteY21" fmla="*/ 247116 h 247362"/>
              <a:gd name="connsiteX22" fmla="*/ 249864 w 689586"/>
              <a:gd name="connsiteY22" fmla="*/ 247114 h 247362"/>
              <a:gd name="connsiteX23" fmla="*/ 0 w 689586"/>
              <a:gd name="connsiteY23" fmla="*/ 247114 h 247362"/>
              <a:gd name="connsiteX24" fmla="*/ 7858 w 689586"/>
              <a:gd name="connsiteY24" fmla="*/ 186719 h 247362"/>
              <a:gd name="connsiteX25" fmla="*/ 249861 w 689586"/>
              <a:gd name="connsiteY25" fmla="*/ 247105 h 247362"/>
              <a:gd name="connsiteX26" fmla="*/ 249859 w 689586"/>
              <a:gd name="connsiteY26" fmla="*/ 247095 h 247362"/>
              <a:gd name="connsiteX27" fmla="*/ 24103 w 689586"/>
              <a:gd name="connsiteY27" fmla="*/ 142073 h 247362"/>
              <a:gd name="connsiteX28" fmla="*/ 56837 w 689586"/>
              <a:gd name="connsiteY28" fmla="*/ 90557 h 247362"/>
              <a:gd name="connsiteX29" fmla="*/ 249854 w 689586"/>
              <a:gd name="connsiteY29" fmla="*/ 247076 h 247362"/>
              <a:gd name="connsiteX30" fmla="*/ 249834 w 689586"/>
              <a:gd name="connsiteY30" fmla="*/ 246997 h 247362"/>
              <a:gd name="connsiteX31" fmla="*/ 92849 w 689586"/>
              <a:gd name="connsiteY31" fmla="*/ 55039 h 247362"/>
              <a:gd name="connsiteX32" fmla="*/ 144612 w 689586"/>
              <a:gd name="connsiteY32" fmla="*/ 23078 h 247362"/>
              <a:gd name="connsiteX33" fmla="*/ 249821 w 689586"/>
              <a:gd name="connsiteY33" fmla="*/ 246945 h 247362"/>
              <a:gd name="connsiteX34" fmla="*/ 189750 w 689586"/>
              <a:gd name="connsiteY34" fmla="*/ 7364 h 247362"/>
              <a:gd name="connsiteX35" fmla="*/ 248102 w 689586"/>
              <a:gd name="connsiteY35" fmla="*/ 247 h 247362"/>
              <a:gd name="connsiteX36" fmla="*/ 352898 w 689586"/>
              <a:gd name="connsiteY36" fmla="*/ 0 h 247362"/>
              <a:gd name="connsiteX37" fmla="*/ 430524 w 689586"/>
              <a:gd name="connsiteY37" fmla="*/ 0 h 247362"/>
              <a:gd name="connsiteX38" fmla="*/ 330557 w 689586"/>
              <a:gd name="connsiteY38" fmla="*/ 124315 h 247362"/>
              <a:gd name="connsiteX39" fmla="*/ 431017 w 689586"/>
              <a:gd name="connsiteY39" fmla="*/ 247116 h 247362"/>
              <a:gd name="connsiteX40" fmla="*/ 355716 w 689586"/>
              <a:gd name="connsiteY40" fmla="*/ 247116 h 247362"/>
              <a:gd name="connsiteX41" fmla="*/ 266144 w 689586"/>
              <a:gd name="connsiteY41" fmla="*/ 150954 h 247362"/>
              <a:gd name="connsiteX42" fmla="*/ 266144 w 689586"/>
              <a:gd name="connsiteY42" fmla="*/ 95916 h 2473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</a:cxnLst>
            <a:rect l="l" t="t" r="r" b="b"/>
            <a:pathLst>
              <a:path w="689586" h="247362">
                <a:moveTo>
                  <a:pt x="526439" y="247"/>
                </a:moveTo>
                <a:lnTo>
                  <a:pt x="689586" y="247"/>
                </a:lnTo>
                <a:lnTo>
                  <a:pt x="689586" y="55816"/>
                </a:lnTo>
                <a:lnTo>
                  <a:pt x="641876" y="55816"/>
                </a:lnTo>
                <a:lnTo>
                  <a:pt x="641876" y="247362"/>
                </a:lnTo>
                <a:lnTo>
                  <a:pt x="574149" y="247362"/>
                </a:lnTo>
                <a:lnTo>
                  <a:pt x="574149" y="55816"/>
                </a:lnTo>
                <a:lnTo>
                  <a:pt x="526439" y="55816"/>
                </a:lnTo>
                <a:close/>
                <a:moveTo>
                  <a:pt x="442470" y="247"/>
                </a:moveTo>
                <a:lnTo>
                  <a:pt x="510194" y="247"/>
                </a:lnTo>
                <a:lnTo>
                  <a:pt x="510194" y="247116"/>
                </a:lnTo>
                <a:lnTo>
                  <a:pt x="442470" y="247116"/>
                </a:lnTo>
                <a:close/>
                <a:moveTo>
                  <a:pt x="248102" y="247"/>
                </a:moveTo>
                <a:lnTo>
                  <a:pt x="250146" y="247"/>
                </a:lnTo>
                <a:lnTo>
                  <a:pt x="249899" y="247077"/>
                </a:lnTo>
                <a:lnTo>
                  <a:pt x="249900" y="247078"/>
                </a:lnTo>
                <a:lnTo>
                  <a:pt x="249900" y="247113"/>
                </a:lnTo>
                <a:lnTo>
                  <a:pt x="249899" y="247111"/>
                </a:lnTo>
                <a:lnTo>
                  <a:pt x="249899" y="247113"/>
                </a:lnTo>
                <a:lnTo>
                  <a:pt x="249899" y="247114"/>
                </a:lnTo>
                <a:lnTo>
                  <a:pt x="249899" y="247116"/>
                </a:lnTo>
                <a:lnTo>
                  <a:pt x="249864" y="247116"/>
                </a:lnTo>
                <a:lnTo>
                  <a:pt x="249864" y="247114"/>
                </a:lnTo>
                <a:lnTo>
                  <a:pt x="0" y="247114"/>
                </a:lnTo>
                <a:cubicBezTo>
                  <a:pt x="246" y="226289"/>
                  <a:pt x="2784" y="205994"/>
                  <a:pt x="7858" y="186719"/>
                </a:cubicBezTo>
                <a:lnTo>
                  <a:pt x="249861" y="247105"/>
                </a:lnTo>
                <a:lnTo>
                  <a:pt x="249859" y="247095"/>
                </a:lnTo>
                <a:lnTo>
                  <a:pt x="24103" y="142073"/>
                </a:lnTo>
                <a:cubicBezTo>
                  <a:pt x="32736" y="123539"/>
                  <a:pt x="43906" y="106273"/>
                  <a:pt x="56837" y="90557"/>
                </a:cubicBezTo>
                <a:lnTo>
                  <a:pt x="249854" y="247076"/>
                </a:lnTo>
                <a:lnTo>
                  <a:pt x="249834" y="246997"/>
                </a:lnTo>
                <a:lnTo>
                  <a:pt x="92849" y="55039"/>
                </a:lnTo>
                <a:cubicBezTo>
                  <a:pt x="108600" y="42353"/>
                  <a:pt x="125831" y="31712"/>
                  <a:pt x="144612" y="23078"/>
                </a:cubicBezTo>
                <a:lnTo>
                  <a:pt x="249821" y="246945"/>
                </a:lnTo>
                <a:lnTo>
                  <a:pt x="189750" y="7364"/>
                </a:lnTo>
                <a:cubicBezTo>
                  <a:pt x="208531" y="2784"/>
                  <a:pt x="228052" y="247"/>
                  <a:pt x="248102" y="247"/>
                </a:cubicBezTo>
                <a:close/>
                <a:moveTo>
                  <a:pt x="352898" y="0"/>
                </a:moveTo>
                <a:lnTo>
                  <a:pt x="430524" y="0"/>
                </a:lnTo>
                <a:lnTo>
                  <a:pt x="330557" y="124315"/>
                </a:lnTo>
                <a:lnTo>
                  <a:pt x="431017" y="247116"/>
                </a:lnTo>
                <a:lnTo>
                  <a:pt x="355716" y="247116"/>
                </a:lnTo>
                <a:lnTo>
                  <a:pt x="266144" y="150954"/>
                </a:lnTo>
                <a:lnTo>
                  <a:pt x="266144" y="95916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r>
              <a:rPr lang="en-US" noProof="1"/>
              <a:t> dsafasdfadsfdsfasdfsadfasdfadsf sdaf asdfasdf</a:t>
            </a:r>
          </a:p>
        </p:txBody>
      </p:sp>
    </p:spTree>
    <p:extLst>
      <p:ext uri="{BB962C8B-B14F-4D97-AF65-F5344CB8AC3E}">
        <p14:creationId xmlns:p14="http://schemas.microsoft.com/office/powerpoint/2010/main" val="1354465971"/>
      </p:ext>
    </p:extLst>
  </p:cSld>
  <p:clrMapOvr>
    <a:masterClrMapping/>
  </p:clrMapOvr>
  <p:transition>
    <p:fade/>
  </p:transition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Mess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05B1CE1-6CC9-F59B-4D70-B6BAA153740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71475" y="368300"/>
            <a:ext cx="7561263" cy="4681538"/>
          </a:xfrm>
        </p:spPr>
        <p:txBody>
          <a:bodyPr/>
          <a:lstStyle>
            <a:lvl1pPr marL="0" indent="0">
              <a:buClrTx/>
              <a:buFont typeface="Franklin Gothic Medium" panose="020B0603020102020204" pitchFamily="34" charset="0"/>
              <a:buNone/>
              <a:defRPr sz="5000"/>
            </a:lvl1pPr>
          </a:lstStyle>
          <a:p>
            <a:r>
              <a:rPr lang="en-US" dirty="0"/>
              <a:t>Add Title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7B8292EB-A174-4AF5-E760-21B84099238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8148637" y="5265738"/>
            <a:ext cx="3671887" cy="1011236"/>
          </a:xfrm>
        </p:spPr>
        <p:txBody>
          <a:bodyPr anchor="t"/>
          <a:lstStyle>
            <a:lvl1pPr algn="r">
              <a:lnSpc>
                <a:spcPct val="85000"/>
              </a:lnSpc>
              <a:spcBef>
                <a:spcPts val="300"/>
              </a:spcBef>
              <a:spcAft>
                <a:spcPts val="300"/>
              </a:spcAft>
              <a:defRPr sz="2000" b="1">
                <a:solidFill>
                  <a:schemeClr val="accent1"/>
                </a:solidFill>
              </a:defRPr>
            </a:lvl1pPr>
            <a:lvl2pPr marL="0" indent="0" algn="r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2pPr>
            <a:lvl3pPr marL="0" indent="0" algn="r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3pPr>
            <a:lvl4pPr marL="0" indent="0" algn="r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None/>
              <a:defRPr sz="1600" b="0">
                <a:solidFill>
                  <a:schemeClr val="tx1"/>
                </a:solidFill>
              </a:defRPr>
            </a:lvl4pPr>
            <a:lvl5pPr marL="0" indent="0" algn="r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5pPr>
            <a:lvl6pPr marL="0" indent="0" algn="r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6pPr>
            <a:lvl7pPr marL="0" indent="0" algn="r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7pPr>
            <a:lvl8pPr marL="0" indent="0" algn="r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8pPr>
            <a:lvl9pPr marL="0" indent="0" algn="r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AF98A4DE-C74C-4808-FDCB-EBF6770F28AB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0B573B31-057A-4A29-B696-D42690CFF963}" type="datetime3">
              <a:rPr lang="de-DE" smtClean="0"/>
              <a:t>01/07/2025</a:t>
            </a:fld>
            <a:endParaRPr lang="en-US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C3D1B3FA-E430-88B7-E277-5600359CFE91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Name - Title of Presentation</a:t>
            </a:r>
            <a:endParaRPr lang="en-US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721F58DB-2C93-B018-29B4-F68DDB674B8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76FC98F-84AD-404B-BCCB-49E092AA6DE0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50942051"/>
      </p:ext>
    </p:extLst>
  </p:cSld>
  <p:clrMapOvr>
    <a:masterClrMapping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horizontal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15">
            <a:extLst>
              <a:ext uri="{FF2B5EF4-FFF2-40B4-BE49-F238E27FC236}">
                <a16:creationId xmlns:a16="http://schemas.microsoft.com/office/drawing/2014/main" id="{E617D12E-D9F2-FE30-962E-F64655611604}"/>
              </a:ext>
            </a:extLst>
          </p:cNvPr>
          <p:cNvSpPr>
            <a:spLocks noGrp="1"/>
          </p:cNvSpPr>
          <p:nvPr userDrawn="1">
            <p:ph type="pic" sz="quarter" idx="13" hasCustomPrompt="1"/>
          </p:nvPr>
        </p:nvSpPr>
        <p:spPr bwMode="gray">
          <a:xfrm>
            <a:off x="0" y="1"/>
            <a:ext cx="12191999" cy="3824287"/>
          </a:xfrm>
        </p:spPr>
        <p:txBody>
          <a:bodyPr tIns="900000" anchor="ctr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00"/>
            </a:lvl1pPr>
          </a:lstStyle>
          <a:p>
            <a:r>
              <a:rPr lang="en-US" dirty="0"/>
              <a:t>Insert picture by clicking on the symbol. </a:t>
            </a:r>
            <a:br>
              <a:rPr lang="en-US" dirty="0"/>
            </a:br>
            <a:br>
              <a:rPr lang="en-US" dirty="0"/>
            </a:br>
            <a:r>
              <a:rPr lang="en-US" dirty="0"/>
              <a:t>Alternatively, copy the image to the clipboard,</a:t>
            </a:r>
            <a:br>
              <a:rPr lang="en-US" dirty="0"/>
            </a:br>
            <a:r>
              <a:rPr lang="en-US" dirty="0"/>
              <a:t> select the placeholder and paste the image.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446F4A2-1BBD-C6A2-7866-B5B1968C941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black">
          <a:xfrm>
            <a:off x="371475" y="4038599"/>
            <a:ext cx="5616575" cy="1694655"/>
          </a:xfrm>
        </p:spPr>
        <p:txBody>
          <a:bodyPr rIns="0" anchor="t"/>
          <a:lstStyle>
            <a:lvl1pPr algn="l">
              <a:defRPr sz="50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Add Title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17604293-CF1F-A295-5586-92D0F86F4A3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371475" y="5733256"/>
            <a:ext cx="5616575" cy="543718"/>
          </a:xfrm>
        </p:spPr>
        <p:txBody>
          <a:bodyPr rIns="0" anchor="b"/>
          <a:lstStyle>
            <a:lvl1pPr marL="0" indent="0" algn="l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 algn="l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2pPr>
            <a:lvl3pPr marL="0" indent="0" algn="l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3pPr>
            <a:lvl4pPr marL="0" indent="0" algn="l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4pPr>
            <a:lvl5pPr marL="0" indent="0" algn="l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5pPr>
            <a:lvl6pPr marL="0" indent="0" algn="l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6pPr>
            <a:lvl7pPr marL="0" indent="0" algn="l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7pPr>
            <a:lvl8pPr marL="0" indent="0" algn="l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8pPr>
            <a:lvl9pPr marL="0" indent="0" algn="l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dirty="0"/>
              <a:t>Add Subtitle</a:t>
            </a:r>
          </a:p>
        </p:txBody>
      </p:sp>
      <p:sp>
        <p:nvSpPr>
          <p:cNvPr id="19" name="Inhaltsplatzhalter 18">
            <a:extLst>
              <a:ext uri="{FF2B5EF4-FFF2-40B4-BE49-F238E27FC236}">
                <a16:creationId xmlns:a16="http://schemas.microsoft.com/office/drawing/2014/main" id="{EA0F1769-10E8-A988-F711-DB28498A25E4}"/>
              </a:ext>
            </a:extLst>
          </p:cNvPr>
          <p:cNvSpPr>
            <a:spLocks noGrp="1"/>
          </p:cNvSpPr>
          <p:nvPr userDrawn="1">
            <p:ph sz="quarter" idx="14" hasCustomPrompt="1"/>
          </p:nvPr>
        </p:nvSpPr>
        <p:spPr bwMode="black">
          <a:xfrm>
            <a:off x="10488487" y="5553236"/>
            <a:ext cx="1332038" cy="720564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">
                <a:noFill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">
                <a:noFill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">
                <a:noFill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">
                <a:noFill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">
                <a:noFill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">
                <a:noFill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">
                <a:noFill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">
                <a:noFill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">
                <a:noFill/>
              </a:defRPr>
            </a:lvl9pPr>
          </a:lstStyle>
          <a:p>
            <a:pPr lvl="0"/>
            <a:r>
              <a:rPr lang="en-US" noProof="1"/>
              <a:t>OE Logoplatzhalter</a:t>
            </a:r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1CDC56E0-CC7D-87E3-D66D-6BEE83D8AE75}"/>
              </a:ext>
            </a:extLst>
          </p:cNvPr>
          <p:cNvSpPr/>
          <p:nvPr userDrawn="1"/>
        </p:nvSpPr>
        <p:spPr bwMode="gray">
          <a:xfrm>
            <a:off x="12233756" y="5553236"/>
            <a:ext cx="1640680" cy="720564"/>
          </a:xfrm>
          <a:prstGeom prst="rect">
            <a:avLst/>
          </a:prstGeom>
          <a:solidFill>
            <a:schemeClr val="bg1"/>
          </a:solidFill>
          <a:ln w="6350"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44000" tIns="144000" rIns="144000" bIns="144000" rtlCol="0" anchor="ctr"/>
          <a:lstStyle/>
          <a:p>
            <a:pPr algn="l"/>
            <a:r>
              <a:rPr lang="en-US" sz="1000" b="1" dirty="0">
                <a:solidFill>
                  <a:schemeClr val="tx1"/>
                </a:solidFill>
              </a:rPr>
              <a:t>OE-Logo (optional)</a:t>
            </a:r>
          </a:p>
          <a:p>
            <a:pPr algn="l"/>
            <a:r>
              <a:rPr lang="en-US" sz="1000" dirty="0">
                <a:solidFill>
                  <a:schemeClr val="tx1"/>
                </a:solidFill>
              </a:rPr>
              <a:t>Insert with a click on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the image icon</a:t>
            </a:r>
            <a:endParaRPr lang="en-US" sz="1000" b="1" dirty="0">
              <a:solidFill>
                <a:schemeClr val="tx1"/>
              </a:solidFill>
            </a:endParaRPr>
          </a:p>
        </p:txBody>
      </p:sp>
      <p:sp>
        <p:nvSpPr>
          <p:cNvPr id="7" name="Datumsplatzhalter 3">
            <a:extLst>
              <a:ext uri="{FF2B5EF4-FFF2-40B4-BE49-F238E27FC236}">
                <a16:creationId xmlns:a16="http://schemas.microsoft.com/office/drawing/2014/main" id="{B05E904A-C9EA-86A7-9664-F1BEB574F064}"/>
              </a:ext>
            </a:extLst>
          </p:cNvPr>
          <p:cNvSpPr txBox="1">
            <a:spLocks/>
          </p:cNvSpPr>
          <p:nvPr userDrawn="1"/>
        </p:nvSpPr>
        <p:spPr bwMode="black">
          <a:xfrm>
            <a:off x="0" y="6858000"/>
            <a:ext cx="0" cy="0"/>
          </a:xfrm>
          <a:prstGeom prst="rect">
            <a:avLst/>
          </a:prstGeom>
        </p:spPr>
        <p:txBody>
          <a:bodyPr vert="horz" wrap="none" lIns="0" tIns="36000" rIns="0" bIns="0" rtlCol="0" anchor="ctr">
            <a:normAutofit fontScale="25000" lnSpcReduction="20000"/>
          </a:bodyPr>
          <a:lstStyle>
            <a:defPPr>
              <a:defRPr lang="en-US"/>
            </a:defPPr>
            <a:lvl1pPr marL="0" algn="l" defTabSz="914400" rtl="0" eaLnBrk="1" latinLnBrk="0" hangingPunct="1">
              <a:defRPr sz="700" kern="1200">
                <a:noFill/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Datum aus technischen Gründen nicht deaktivieren!</a:t>
            </a:r>
          </a:p>
        </p:txBody>
      </p:sp>
      <p:sp>
        <p:nvSpPr>
          <p:cNvPr id="11" name="Fußzeilenplatzhalter 4">
            <a:extLst>
              <a:ext uri="{FF2B5EF4-FFF2-40B4-BE49-F238E27FC236}">
                <a16:creationId xmlns:a16="http://schemas.microsoft.com/office/drawing/2014/main" id="{146CC5CD-AF6B-4EF0-3308-79576A9AD0C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black">
          <a:xfrm>
            <a:off x="0" y="6858000"/>
            <a:ext cx="0" cy="0"/>
          </a:xfrm>
        </p:spPr>
        <p:txBody>
          <a:bodyPr wrap="none">
            <a:normAutofit/>
          </a:bodyPr>
          <a:lstStyle>
            <a:lvl1pPr>
              <a:defRPr sz="100">
                <a:noFill/>
              </a:defRPr>
            </a:lvl1pPr>
          </a:lstStyle>
          <a:p>
            <a:r>
              <a:rPr lang="en-US"/>
              <a:t>Name - Title of Presentation</a:t>
            </a:r>
            <a:endParaRPr lang="en-US" dirty="0"/>
          </a:p>
        </p:txBody>
      </p:sp>
      <p:sp>
        <p:nvSpPr>
          <p:cNvPr id="12" name="Foliennummernplatzhalter 5">
            <a:extLst>
              <a:ext uri="{FF2B5EF4-FFF2-40B4-BE49-F238E27FC236}">
                <a16:creationId xmlns:a16="http://schemas.microsoft.com/office/drawing/2014/main" id="{4EF9ED98-5AE0-9DB9-A2FD-AB2BDC2F878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black">
          <a:xfrm>
            <a:off x="0" y="6858000"/>
            <a:ext cx="0" cy="0"/>
          </a:xfrm>
        </p:spPr>
        <p:txBody>
          <a:bodyPr wrap="none">
            <a:normAutofit/>
          </a:bodyPr>
          <a:lstStyle>
            <a:lvl1pPr>
              <a:defRPr sz="100">
                <a:noFill/>
              </a:defRPr>
            </a:lvl1pPr>
          </a:lstStyle>
          <a:p>
            <a:fld id="{776FC98F-84AD-404B-BCCB-49E092AA6DE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SmartArt-Platzhalter 10">
            <a:extLst>
              <a:ext uri="{FF2B5EF4-FFF2-40B4-BE49-F238E27FC236}">
                <a16:creationId xmlns:a16="http://schemas.microsoft.com/office/drawing/2014/main" id="{A96C0EF9-BA74-F815-E094-6E6D6E1F1198}"/>
              </a:ext>
            </a:extLst>
          </p:cNvPr>
          <p:cNvSpPr>
            <a:spLocks noGrp="1" noChangeAspect="1"/>
          </p:cNvSpPr>
          <p:nvPr>
            <p:ph type="dgm" sz="quarter" idx="20" hasCustomPrompt="1"/>
          </p:nvPr>
        </p:nvSpPr>
        <p:spPr bwMode="gray">
          <a:xfrm>
            <a:off x="10710878" y="368661"/>
            <a:ext cx="861983" cy="309203"/>
          </a:xfrm>
          <a:custGeom>
            <a:avLst/>
            <a:gdLst>
              <a:gd name="connsiteX0" fmla="*/ 672615 w 881062"/>
              <a:gd name="connsiteY0" fmla="*/ 316 h 316047"/>
              <a:gd name="connsiteX1" fmla="*/ 881062 w 881062"/>
              <a:gd name="connsiteY1" fmla="*/ 316 h 316047"/>
              <a:gd name="connsiteX2" fmla="*/ 881062 w 881062"/>
              <a:gd name="connsiteY2" fmla="*/ 71315 h 316047"/>
              <a:gd name="connsiteX3" fmla="*/ 820105 w 881062"/>
              <a:gd name="connsiteY3" fmla="*/ 71315 h 316047"/>
              <a:gd name="connsiteX4" fmla="*/ 820105 w 881062"/>
              <a:gd name="connsiteY4" fmla="*/ 316047 h 316047"/>
              <a:gd name="connsiteX5" fmla="*/ 733572 w 881062"/>
              <a:gd name="connsiteY5" fmla="*/ 316047 h 316047"/>
              <a:gd name="connsiteX6" fmla="*/ 733572 w 881062"/>
              <a:gd name="connsiteY6" fmla="*/ 71315 h 316047"/>
              <a:gd name="connsiteX7" fmla="*/ 672615 w 881062"/>
              <a:gd name="connsiteY7" fmla="*/ 71315 h 316047"/>
              <a:gd name="connsiteX8" fmla="*/ 565331 w 881062"/>
              <a:gd name="connsiteY8" fmla="*/ 316 h 316047"/>
              <a:gd name="connsiteX9" fmla="*/ 651859 w 881062"/>
              <a:gd name="connsiteY9" fmla="*/ 316 h 316047"/>
              <a:gd name="connsiteX10" fmla="*/ 651859 w 881062"/>
              <a:gd name="connsiteY10" fmla="*/ 315733 h 316047"/>
              <a:gd name="connsiteX11" fmla="*/ 565331 w 881062"/>
              <a:gd name="connsiteY11" fmla="*/ 315733 h 316047"/>
              <a:gd name="connsiteX12" fmla="*/ 316992 w 881062"/>
              <a:gd name="connsiteY12" fmla="*/ 316 h 316047"/>
              <a:gd name="connsiteX13" fmla="*/ 319603 w 881062"/>
              <a:gd name="connsiteY13" fmla="*/ 316 h 316047"/>
              <a:gd name="connsiteX14" fmla="*/ 319289 w 881062"/>
              <a:gd name="connsiteY14" fmla="*/ 315733 h 316047"/>
              <a:gd name="connsiteX15" fmla="*/ 319243 w 881062"/>
              <a:gd name="connsiteY15" fmla="*/ 315733 h 316047"/>
              <a:gd name="connsiteX16" fmla="*/ 319243 w 881062"/>
              <a:gd name="connsiteY16" fmla="*/ 315729 h 316047"/>
              <a:gd name="connsiteX17" fmla="*/ 0 w 881062"/>
              <a:gd name="connsiteY17" fmla="*/ 315729 h 316047"/>
              <a:gd name="connsiteX18" fmla="*/ 10040 w 881062"/>
              <a:gd name="connsiteY18" fmla="*/ 238565 h 316047"/>
              <a:gd name="connsiteX19" fmla="*/ 319239 w 881062"/>
              <a:gd name="connsiteY19" fmla="*/ 315718 h 316047"/>
              <a:gd name="connsiteX20" fmla="*/ 319236 w 881062"/>
              <a:gd name="connsiteY20" fmla="*/ 315705 h 316047"/>
              <a:gd name="connsiteX21" fmla="*/ 30795 w 881062"/>
              <a:gd name="connsiteY21" fmla="*/ 181522 h 316047"/>
              <a:gd name="connsiteX22" fmla="*/ 72618 w 881062"/>
              <a:gd name="connsiteY22" fmla="*/ 115703 h 316047"/>
              <a:gd name="connsiteX23" fmla="*/ 319230 w 881062"/>
              <a:gd name="connsiteY23" fmla="*/ 315681 h 316047"/>
              <a:gd name="connsiteX24" fmla="*/ 319204 w 881062"/>
              <a:gd name="connsiteY24" fmla="*/ 315579 h 316047"/>
              <a:gd name="connsiteX25" fmla="*/ 118629 w 881062"/>
              <a:gd name="connsiteY25" fmla="*/ 70321 h 316047"/>
              <a:gd name="connsiteX26" fmla="*/ 184766 w 881062"/>
              <a:gd name="connsiteY26" fmla="*/ 29486 h 316047"/>
              <a:gd name="connsiteX27" fmla="*/ 319187 w 881062"/>
              <a:gd name="connsiteY27" fmla="*/ 315512 h 316047"/>
              <a:gd name="connsiteX28" fmla="*/ 242439 w 881062"/>
              <a:gd name="connsiteY28" fmla="*/ 9408 h 316047"/>
              <a:gd name="connsiteX29" fmla="*/ 316992 w 881062"/>
              <a:gd name="connsiteY29" fmla="*/ 316 h 316047"/>
              <a:gd name="connsiteX30" fmla="*/ 450887 w 881062"/>
              <a:gd name="connsiteY30" fmla="*/ 0 h 316047"/>
              <a:gd name="connsiteX31" fmla="*/ 550067 w 881062"/>
              <a:gd name="connsiteY31" fmla="*/ 0 h 316047"/>
              <a:gd name="connsiteX32" fmla="*/ 422343 w 881062"/>
              <a:gd name="connsiteY32" fmla="*/ 158833 h 316047"/>
              <a:gd name="connsiteX33" fmla="*/ 550698 w 881062"/>
              <a:gd name="connsiteY33" fmla="*/ 315733 h 316047"/>
              <a:gd name="connsiteX34" fmla="*/ 454488 w 881062"/>
              <a:gd name="connsiteY34" fmla="*/ 315733 h 316047"/>
              <a:gd name="connsiteX35" fmla="*/ 340045 w 881062"/>
              <a:gd name="connsiteY35" fmla="*/ 192869 h 316047"/>
              <a:gd name="connsiteX36" fmla="*/ 340045 w 881062"/>
              <a:gd name="connsiteY36" fmla="*/ 122548 h 3160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</a:cxnLst>
            <a:rect l="l" t="t" r="r" b="b"/>
            <a:pathLst>
              <a:path w="881062" h="316047">
                <a:moveTo>
                  <a:pt x="672615" y="316"/>
                </a:moveTo>
                <a:lnTo>
                  <a:pt x="881062" y="316"/>
                </a:lnTo>
                <a:lnTo>
                  <a:pt x="881062" y="71315"/>
                </a:lnTo>
                <a:lnTo>
                  <a:pt x="820105" y="71315"/>
                </a:lnTo>
                <a:lnTo>
                  <a:pt x="820105" y="316047"/>
                </a:lnTo>
                <a:lnTo>
                  <a:pt x="733572" y="316047"/>
                </a:lnTo>
                <a:lnTo>
                  <a:pt x="733572" y="71315"/>
                </a:lnTo>
                <a:lnTo>
                  <a:pt x="672615" y="71315"/>
                </a:lnTo>
                <a:close/>
                <a:moveTo>
                  <a:pt x="565331" y="316"/>
                </a:moveTo>
                <a:lnTo>
                  <a:pt x="651859" y="316"/>
                </a:lnTo>
                <a:lnTo>
                  <a:pt x="651859" y="315733"/>
                </a:lnTo>
                <a:lnTo>
                  <a:pt x="565331" y="315733"/>
                </a:lnTo>
                <a:close/>
                <a:moveTo>
                  <a:pt x="316992" y="316"/>
                </a:moveTo>
                <a:lnTo>
                  <a:pt x="319603" y="316"/>
                </a:lnTo>
                <a:lnTo>
                  <a:pt x="319289" y="315733"/>
                </a:lnTo>
                <a:lnTo>
                  <a:pt x="319243" y="315733"/>
                </a:lnTo>
                <a:lnTo>
                  <a:pt x="319243" y="315729"/>
                </a:lnTo>
                <a:lnTo>
                  <a:pt x="0" y="315729"/>
                </a:lnTo>
                <a:cubicBezTo>
                  <a:pt x="314" y="289122"/>
                  <a:pt x="3556" y="263191"/>
                  <a:pt x="10040" y="238565"/>
                </a:cubicBezTo>
                <a:lnTo>
                  <a:pt x="319239" y="315718"/>
                </a:lnTo>
                <a:lnTo>
                  <a:pt x="319236" y="315705"/>
                </a:lnTo>
                <a:lnTo>
                  <a:pt x="30795" y="181522"/>
                </a:lnTo>
                <a:cubicBezTo>
                  <a:pt x="41825" y="157842"/>
                  <a:pt x="56097" y="135780"/>
                  <a:pt x="72618" y="115703"/>
                </a:cubicBezTo>
                <a:lnTo>
                  <a:pt x="319230" y="315681"/>
                </a:lnTo>
                <a:lnTo>
                  <a:pt x="319204" y="315579"/>
                </a:lnTo>
                <a:lnTo>
                  <a:pt x="118629" y="70321"/>
                </a:lnTo>
                <a:cubicBezTo>
                  <a:pt x="138754" y="54114"/>
                  <a:pt x="160770" y="40518"/>
                  <a:pt x="184766" y="29486"/>
                </a:cubicBezTo>
                <a:lnTo>
                  <a:pt x="319187" y="315512"/>
                </a:lnTo>
                <a:lnTo>
                  <a:pt x="242439" y="9408"/>
                </a:lnTo>
                <a:cubicBezTo>
                  <a:pt x="266435" y="3556"/>
                  <a:pt x="291376" y="316"/>
                  <a:pt x="316992" y="316"/>
                </a:cubicBezTo>
                <a:close/>
                <a:moveTo>
                  <a:pt x="450887" y="0"/>
                </a:moveTo>
                <a:lnTo>
                  <a:pt x="550067" y="0"/>
                </a:lnTo>
                <a:lnTo>
                  <a:pt x="422343" y="158833"/>
                </a:lnTo>
                <a:lnTo>
                  <a:pt x="550698" y="315733"/>
                </a:lnTo>
                <a:lnTo>
                  <a:pt x="454488" y="315733"/>
                </a:lnTo>
                <a:lnTo>
                  <a:pt x="340045" y="192869"/>
                </a:lnTo>
                <a:lnTo>
                  <a:pt x="340045" y="122548"/>
                </a:lnTo>
                <a:close/>
              </a:path>
            </a:pathLst>
          </a:custGeom>
          <a:solidFill>
            <a:schemeClr val="bg1"/>
          </a:solidFill>
        </p:spPr>
        <p:txBody>
          <a:bodyPr wrap="none">
            <a:noAutofit/>
          </a:bodyPr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r>
              <a:rPr lang="en-US" noProof="1"/>
              <a:t> dsafasdfadsfdsfasdfsadfasdfadsf sdaf asdfasdf</a:t>
            </a:r>
          </a:p>
        </p:txBody>
      </p:sp>
    </p:spTree>
    <p:extLst>
      <p:ext uri="{BB962C8B-B14F-4D97-AF65-F5344CB8AC3E}">
        <p14:creationId xmlns:p14="http://schemas.microsoft.com/office/powerpoint/2010/main" val="385470920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inal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3">
            <a:extLst>
              <a:ext uri="{FF2B5EF4-FFF2-40B4-BE49-F238E27FC236}">
                <a16:creationId xmlns:a16="http://schemas.microsoft.com/office/drawing/2014/main" id="{DF83F67C-6F11-812D-C9A9-0CCF3FAD3E15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gray">
          <a:xfrm>
            <a:off x="0" y="6858000"/>
            <a:ext cx="0" cy="0"/>
          </a:xfrm>
          <a:prstGeom prst="rect">
            <a:avLst/>
          </a:prstGeom>
        </p:spPr>
        <p:txBody>
          <a:bodyPr wrap="none">
            <a:normAutofit/>
          </a:bodyPr>
          <a:lstStyle>
            <a:lvl1pPr>
              <a:defRPr>
                <a:noFill/>
              </a:defRPr>
            </a:lvl1pPr>
          </a:lstStyle>
          <a:p>
            <a:fld id="{C7E830C9-FC8D-4108-AFB5-1BC5CCEAE275}" type="datetime3">
              <a:rPr lang="de-DE" smtClean="0"/>
              <a:t>01/07/2025</a:t>
            </a:fld>
            <a:endParaRPr lang="en-US" dirty="0"/>
          </a:p>
        </p:txBody>
      </p:sp>
      <p:sp>
        <p:nvSpPr>
          <p:cNvPr id="7" name="Fußzeilenplatzhalter 4">
            <a:extLst>
              <a:ext uri="{FF2B5EF4-FFF2-40B4-BE49-F238E27FC236}">
                <a16:creationId xmlns:a16="http://schemas.microsoft.com/office/drawing/2014/main" id="{07D85C20-697F-36B4-27AB-4369535EA0F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>
          <a:xfrm>
            <a:off x="0" y="6858000"/>
            <a:ext cx="0" cy="0"/>
          </a:xfrm>
        </p:spPr>
        <p:txBody>
          <a:bodyPr wrap="none">
            <a:normAutofit/>
          </a:bodyPr>
          <a:lstStyle>
            <a:lvl1pPr>
              <a:defRPr sz="100">
                <a:noFill/>
              </a:defRPr>
            </a:lvl1pPr>
          </a:lstStyle>
          <a:p>
            <a:r>
              <a:rPr lang="en-US"/>
              <a:t>Name - Title of Presentation</a:t>
            </a:r>
            <a:endParaRPr lang="en-US" dirty="0"/>
          </a:p>
        </p:txBody>
      </p:sp>
      <p:sp>
        <p:nvSpPr>
          <p:cNvPr id="8" name="Foliennummernplatzhalter 5">
            <a:extLst>
              <a:ext uri="{FF2B5EF4-FFF2-40B4-BE49-F238E27FC236}">
                <a16:creationId xmlns:a16="http://schemas.microsoft.com/office/drawing/2014/main" id="{1AD7C5E3-7820-0372-2225-AD27411D83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>
          <a:xfrm>
            <a:off x="0" y="6858000"/>
            <a:ext cx="0" cy="0"/>
          </a:xfrm>
        </p:spPr>
        <p:txBody>
          <a:bodyPr wrap="none">
            <a:normAutofit/>
          </a:bodyPr>
          <a:lstStyle>
            <a:lvl1pPr>
              <a:defRPr sz="100">
                <a:noFill/>
              </a:defRPr>
            </a:lvl1pPr>
          </a:lstStyle>
          <a:p>
            <a:fld id="{776FC98F-84AD-404B-BCCB-49E092AA6DE0}" type="slidenum">
              <a:rPr lang="en-US" smtClean="0"/>
              <a:pPr/>
              <a:t>‹#›</a:t>
            </a:fld>
            <a:endParaRPr lang="en-US" dirty="0"/>
          </a:p>
        </p:txBody>
      </p:sp>
      <p:grpSp>
        <p:nvGrpSpPr>
          <p:cNvPr id="9" name="Gruppieren 8">
            <a:extLst>
              <a:ext uri="{FF2B5EF4-FFF2-40B4-BE49-F238E27FC236}">
                <a16:creationId xmlns:a16="http://schemas.microsoft.com/office/drawing/2014/main" id="{3E4CDB45-9507-051E-FC07-208E38906803}"/>
              </a:ext>
            </a:extLst>
          </p:cNvPr>
          <p:cNvGrpSpPr>
            <a:grpSpLocks/>
          </p:cNvGrpSpPr>
          <p:nvPr userDrawn="1"/>
        </p:nvGrpSpPr>
        <p:grpSpPr bwMode="gray">
          <a:xfrm>
            <a:off x="5484000" y="3209400"/>
            <a:ext cx="1224000" cy="439200"/>
            <a:chOff x="11189494" y="381000"/>
            <a:chExt cx="621506" cy="222941"/>
          </a:xfrm>
        </p:grpSpPr>
        <p:sp>
          <p:nvSpPr>
            <p:cNvPr id="10" name="Freihandform: Form 9">
              <a:extLst>
                <a:ext uri="{FF2B5EF4-FFF2-40B4-BE49-F238E27FC236}">
                  <a16:creationId xmlns:a16="http://schemas.microsoft.com/office/drawing/2014/main" id="{77E21D00-0F9F-CF9A-2404-7B982CA99715}"/>
                </a:ext>
              </a:extLst>
            </p:cNvPr>
            <p:cNvSpPr/>
            <p:nvPr/>
          </p:nvSpPr>
          <p:spPr bwMode="gray">
            <a:xfrm>
              <a:off x="11360511" y="381000"/>
              <a:ext cx="450489" cy="222941"/>
            </a:xfrm>
            <a:custGeom>
              <a:avLst/>
              <a:gdLst>
                <a:gd name="connsiteX0" fmla="*/ 303449 w 450489"/>
                <a:gd name="connsiteY0" fmla="*/ 222 h 222941"/>
                <a:gd name="connsiteX1" fmla="*/ 450489 w 450489"/>
                <a:gd name="connsiteY1" fmla="*/ 222 h 222941"/>
                <a:gd name="connsiteX2" fmla="*/ 450489 w 450489"/>
                <a:gd name="connsiteY2" fmla="*/ 50305 h 222941"/>
                <a:gd name="connsiteX3" fmla="*/ 407489 w 450489"/>
                <a:gd name="connsiteY3" fmla="*/ 50305 h 222941"/>
                <a:gd name="connsiteX4" fmla="*/ 407489 w 450489"/>
                <a:gd name="connsiteY4" fmla="*/ 222941 h 222941"/>
                <a:gd name="connsiteX5" fmla="*/ 346449 w 450489"/>
                <a:gd name="connsiteY5" fmla="*/ 222941 h 222941"/>
                <a:gd name="connsiteX6" fmla="*/ 346449 w 450489"/>
                <a:gd name="connsiteY6" fmla="*/ 50305 h 222941"/>
                <a:gd name="connsiteX7" fmla="*/ 303449 w 450489"/>
                <a:gd name="connsiteY7" fmla="*/ 50305 h 222941"/>
                <a:gd name="connsiteX8" fmla="*/ 227770 w 450489"/>
                <a:gd name="connsiteY8" fmla="*/ 222 h 222941"/>
                <a:gd name="connsiteX9" fmla="*/ 288808 w 450489"/>
                <a:gd name="connsiteY9" fmla="*/ 222 h 222941"/>
                <a:gd name="connsiteX10" fmla="*/ 288808 w 450489"/>
                <a:gd name="connsiteY10" fmla="*/ 222719 h 222941"/>
                <a:gd name="connsiteX11" fmla="*/ 227770 w 450489"/>
                <a:gd name="connsiteY11" fmla="*/ 222719 h 222941"/>
                <a:gd name="connsiteX12" fmla="*/ 52591 w 450489"/>
                <a:gd name="connsiteY12" fmla="*/ 222 h 222941"/>
                <a:gd name="connsiteX13" fmla="*/ 54433 w 450489"/>
                <a:gd name="connsiteY13" fmla="*/ 222 h 222941"/>
                <a:gd name="connsiteX14" fmla="*/ 54211 w 450489"/>
                <a:gd name="connsiteY14" fmla="*/ 222719 h 222941"/>
                <a:gd name="connsiteX15" fmla="*/ 54179 w 450489"/>
                <a:gd name="connsiteY15" fmla="*/ 222719 h 222941"/>
                <a:gd name="connsiteX16" fmla="*/ 0 w 450489"/>
                <a:gd name="connsiteY16" fmla="*/ 6637 h 222941"/>
                <a:gd name="connsiteX17" fmla="*/ 52591 w 450489"/>
                <a:gd name="connsiteY17" fmla="*/ 222 h 222941"/>
                <a:gd name="connsiteX18" fmla="*/ 147041 w 450489"/>
                <a:gd name="connsiteY18" fmla="*/ 0 h 222941"/>
                <a:gd name="connsiteX19" fmla="*/ 217003 w 450489"/>
                <a:gd name="connsiteY19" fmla="*/ 0 h 222941"/>
                <a:gd name="connsiteX20" fmla="*/ 126906 w 450489"/>
                <a:gd name="connsiteY20" fmla="*/ 112042 h 222941"/>
                <a:gd name="connsiteX21" fmla="*/ 217448 w 450489"/>
                <a:gd name="connsiteY21" fmla="*/ 222719 h 222941"/>
                <a:gd name="connsiteX22" fmla="*/ 149581 w 450489"/>
                <a:gd name="connsiteY22" fmla="*/ 222719 h 222941"/>
                <a:gd name="connsiteX23" fmla="*/ 68852 w 450489"/>
                <a:gd name="connsiteY23" fmla="*/ 136051 h 222941"/>
                <a:gd name="connsiteX24" fmla="*/ 68852 w 450489"/>
                <a:gd name="connsiteY24" fmla="*/ 86446 h 2229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450489" h="222941">
                  <a:moveTo>
                    <a:pt x="303449" y="222"/>
                  </a:moveTo>
                  <a:lnTo>
                    <a:pt x="450489" y="222"/>
                  </a:lnTo>
                  <a:lnTo>
                    <a:pt x="450489" y="50305"/>
                  </a:lnTo>
                  <a:lnTo>
                    <a:pt x="407489" y="50305"/>
                  </a:lnTo>
                  <a:lnTo>
                    <a:pt x="407489" y="222941"/>
                  </a:lnTo>
                  <a:lnTo>
                    <a:pt x="346449" y="222941"/>
                  </a:lnTo>
                  <a:lnTo>
                    <a:pt x="346449" y="50305"/>
                  </a:lnTo>
                  <a:lnTo>
                    <a:pt x="303449" y="50305"/>
                  </a:lnTo>
                  <a:close/>
                  <a:moveTo>
                    <a:pt x="227770" y="222"/>
                  </a:moveTo>
                  <a:lnTo>
                    <a:pt x="288808" y="222"/>
                  </a:lnTo>
                  <a:lnTo>
                    <a:pt x="288808" y="222719"/>
                  </a:lnTo>
                  <a:lnTo>
                    <a:pt x="227770" y="222719"/>
                  </a:lnTo>
                  <a:close/>
                  <a:moveTo>
                    <a:pt x="52591" y="222"/>
                  </a:moveTo>
                  <a:lnTo>
                    <a:pt x="54433" y="222"/>
                  </a:lnTo>
                  <a:lnTo>
                    <a:pt x="54211" y="222719"/>
                  </a:lnTo>
                  <a:lnTo>
                    <a:pt x="54179" y="222719"/>
                  </a:lnTo>
                  <a:lnTo>
                    <a:pt x="0" y="6637"/>
                  </a:lnTo>
                  <a:cubicBezTo>
                    <a:pt x="16927" y="2509"/>
                    <a:pt x="34521" y="222"/>
                    <a:pt x="52591" y="222"/>
                  </a:cubicBezTo>
                  <a:close/>
                  <a:moveTo>
                    <a:pt x="147041" y="0"/>
                  </a:moveTo>
                  <a:lnTo>
                    <a:pt x="217003" y="0"/>
                  </a:lnTo>
                  <a:lnTo>
                    <a:pt x="126906" y="112042"/>
                  </a:lnTo>
                  <a:lnTo>
                    <a:pt x="217448" y="222719"/>
                  </a:lnTo>
                  <a:lnTo>
                    <a:pt x="149581" y="222719"/>
                  </a:lnTo>
                  <a:lnTo>
                    <a:pt x="68852" y="136051"/>
                  </a:lnTo>
                  <a:lnTo>
                    <a:pt x="68852" y="86446"/>
                  </a:ln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1" name="Freihandform: Form 10">
              <a:extLst>
                <a:ext uri="{FF2B5EF4-FFF2-40B4-BE49-F238E27FC236}">
                  <a16:creationId xmlns:a16="http://schemas.microsoft.com/office/drawing/2014/main" id="{2B7C94D0-DD91-0D9E-E79B-7B7E82C21C56}"/>
                </a:ext>
              </a:extLst>
            </p:cNvPr>
            <p:cNvSpPr/>
            <p:nvPr/>
          </p:nvSpPr>
          <p:spPr bwMode="gray">
            <a:xfrm>
              <a:off x="11189494" y="401800"/>
              <a:ext cx="225229" cy="201918"/>
            </a:xfrm>
            <a:custGeom>
              <a:avLst/>
              <a:gdLst>
                <a:gd name="connsiteX0" fmla="*/ 225193 w 225229"/>
                <a:gd name="connsiteY0" fmla="*/ 201842 h 201918"/>
                <a:gd name="connsiteX1" fmla="*/ 225228 w 225229"/>
                <a:gd name="connsiteY1" fmla="*/ 201885 h 201918"/>
                <a:gd name="connsiteX2" fmla="*/ 225228 w 225229"/>
                <a:gd name="connsiteY2" fmla="*/ 201917 h 201918"/>
                <a:gd name="connsiteX3" fmla="*/ 7082 w 225229"/>
                <a:gd name="connsiteY3" fmla="*/ 147485 h 201918"/>
                <a:gd name="connsiteX4" fmla="*/ 225228 w 225229"/>
                <a:gd name="connsiteY4" fmla="*/ 201918 h 201918"/>
                <a:gd name="connsiteX5" fmla="*/ 0 w 225229"/>
                <a:gd name="connsiteY5" fmla="*/ 201918 h 201918"/>
                <a:gd name="connsiteX6" fmla="*/ 7082 w 225229"/>
                <a:gd name="connsiteY6" fmla="*/ 147485 h 201918"/>
                <a:gd name="connsiteX7" fmla="*/ 51226 w 225229"/>
                <a:gd name="connsiteY7" fmla="*/ 60817 h 201918"/>
                <a:gd name="connsiteX8" fmla="*/ 225229 w 225229"/>
                <a:gd name="connsiteY8" fmla="*/ 201918 h 201918"/>
                <a:gd name="connsiteX9" fmla="*/ 21723 w 225229"/>
                <a:gd name="connsiteY9" fmla="*/ 107247 h 201918"/>
                <a:gd name="connsiteX10" fmla="*/ 51226 w 225229"/>
                <a:gd name="connsiteY10" fmla="*/ 60817 h 201918"/>
                <a:gd name="connsiteX11" fmla="*/ 130335 w 225229"/>
                <a:gd name="connsiteY11" fmla="*/ 0 h 201918"/>
                <a:gd name="connsiteX12" fmla="*/ 225193 w 225229"/>
                <a:gd name="connsiteY12" fmla="*/ 201842 h 201918"/>
                <a:gd name="connsiteX13" fmla="*/ 83682 w 225229"/>
                <a:gd name="connsiteY13" fmla="*/ 28805 h 201918"/>
                <a:gd name="connsiteX14" fmla="*/ 130335 w 225229"/>
                <a:gd name="connsiteY14" fmla="*/ 0 h 2019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25229" h="201918">
                  <a:moveTo>
                    <a:pt x="225193" y="201842"/>
                  </a:moveTo>
                  <a:lnTo>
                    <a:pt x="225228" y="201885"/>
                  </a:lnTo>
                  <a:lnTo>
                    <a:pt x="225228" y="201917"/>
                  </a:lnTo>
                  <a:close/>
                  <a:moveTo>
                    <a:pt x="7082" y="147485"/>
                  </a:moveTo>
                  <a:lnTo>
                    <a:pt x="225228" y="201918"/>
                  </a:lnTo>
                  <a:lnTo>
                    <a:pt x="0" y="201918"/>
                  </a:lnTo>
                  <a:cubicBezTo>
                    <a:pt x="222" y="183149"/>
                    <a:pt x="2509" y="164857"/>
                    <a:pt x="7082" y="147485"/>
                  </a:cubicBezTo>
                  <a:close/>
                  <a:moveTo>
                    <a:pt x="51226" y="60817"/>
                  </a:moveTo>
                  <a:lnTo>
                    <a:pt x="225229" y="201918"/>
                  </a:lnTo>
                  <a:lnTo>
                    <a:pt x="21723" y="107247"/>
                  </a:lnTo>
                  <a:cubicBezTo>
                    <a:pt x="29504" y="90543"/>
                    <a:pt x="39571" y="74981"/>
                    <a:pt x="51226" y="60817"/>
                  </a:cubicBezTo>
                  <a:close/>
                  <a:moveTo>
                    <a:pt x="130335" y="0"/>
                  </a:moveTo>
                  <a:lnTo>
                    <a:pt x="225193" y="201842"/>
                  </a:lnTo>
                  <a:lnTo>
                    <a:pt x="83682" y="28805"/>
                  </a:lnTo>
                  <a:cubicBezTo>
                    <a:pt x="97878" y="17372"/>
                    <a:pt x="113408" y="7781"/>
                    <a:pt x="130335" y="0"/>
                  </a:cubicBezTo>
                  <a:close/>
                </a:path>
              </a:pathLst>
            </a:custGeom>
            <a:solidFill>
              <a:schemeClr val="accent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1078313573"/>
      </p:ext>
    </p:extLst>
  </p:cSld>
  <p:clrMapOvr>
    <a:masterClrMapping/>
  </p:clrMapOvr>
  <p:transition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feld 5">
            <a:extLst>
              <a:ext uri="{FF2B5EF4-FFF2-40B4-BE49-F238E27FC236}">
                <a16:creationId xmlns:a16="http://schemas.microsoft.com/office/drawing/2014/main" id="{A60EB3CE-8FA7-6B59-50FD-F65D29AB3304}"/>
              </a:ext>
            </a:extLst>
          </p:cNvPr>
          <p:cNvSpPr txBox="1">
            <a:spLocks/>
          </p:cNvSpPr>
          <p:nvPr userDrawn="1"/>
        </p:nvSpPr>
        <p:spPr bwMode="gray">
          <a:xfrm>
            <a:off x="1234988" y="1592263"/>
            <a:ext cx="10585538" cy="3457574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indent="0" algn="l" defTabSz="914347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SzPct val="90000"/>
              <a:buFont typeface="Wingdings" panose="05000000000000000000" pitchFamily="2" charset="2"/>
              <a:buNone/>
            </a:pPr>
            <a:r>
              <a:rPr lang="en-US" sz="12000" b="1" dirty="0">
                <a:solidFill>
                  <a:schemeClr val="bg1"/>
                </a:solidFill>
              </a:rPr>
              <a:t>Agenda</a:t>
            </a:r>
          </a:p>
        </p:txBody>
      </p:sp>
      <p:grpSp>
        <p:nvGrpSpPr>
          <p:cNvPr id="5" name="Gruppieren 4">
            <a:extLst>
              <a:ext uri="{FF2B5EF4-FFF2-40B4-BE49-F238E27FC236}">
                <a16:creationId xmlns:a16="http://schemas.microsoft.com/office/drawing/2014/main" id="{25244B92-11CA-AA31-8AB9-45C253E1FCD6}"/>
              </a:ext>
            </a:extLst>
          </p:cNvPr>
          <p:cNvGrpSpPr/>
          <p:nvPr userDrawn="1"/>
        </p:nvGrpSpPr>
        <p:grpSpPr>
          <a:xfrm>
            <a:off x="9749847" y="2816226"/>
            <a:ext cx="1207276" cy="1009648"/>
            <a:chOff x="9336214" y="2528900"/>
            <a:chExt cx="1980368" cy="1656188"/>
          </a:xfrm>
        </p:grpSpPr>
        <p:cxnSp>
          <p:nvCxnSpPr>
            <p:cNvPr id="7" name="Gerader Verbinder 6">
              <a:extLst>
                <a:ext uri="{FF2B5EF4-FFF2-40B4-BE49-F238E27FC236}">
                  <a16:creationId xmlns:a16="http://schemas.microsoft.com/office/drawing/2014/main" id="{92178F17-D259-CFA4-628D-049EBD28B82E}"/>
                </a:ext>
              </a:extLst>
            </p:cNvPr>
            <p:cNvCxnSpPr>
              <a:cxnSpLocks/>
            </p:cNvCxnSpPr>
            <p:nvPr userDrawn="1"/>
          </p:nvCxnSpPr>
          <p:spPr bwMode="gray">
            <a:xfrm>
              <a:off x="9336214" y="3356994"/>
              <a:ext cx="1980368" cy="0"/>
            </a:xfrm>
            <a:prstGeom prst="line">
              <a:avLst/>
            </a:prstGeom>
            <a:ln w="1524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" name="Raute 4">
              <a:extLst>
                <a:ext uri="{FF2B5EF4-FFF2-40B4-BE49-F238E27FC236}">
                  <a16:creationId xmlns:a16="http://schemas.microsoft.com/office/drawing/2014/main" id="{27EC8CEF-7F13-B3B5-1CA9-5784DB43CE28}"/>
                </a:ext>
              </a:extLst>
            </p:cNvPr>
            <p:cNvSpPr/>
            <p:nvPr userDrawn="1"/>
          </p:nvSpPr>
          <p:spPr bwMode="gray">
            <a:xfrm>
              <a:off x="10488488" y="2528900"/>
              <a:ext cx="828094" cy="1656188"/>
            </a:xfrm>
            <a:custGeom>
              <a:avLst/>
              <a:gdLst>
                <a:gd name="connsiteX0" fmla="*/ 0 w 648072"/>
                <a:gd name="connsiteY0" fmla="*/ 324036 h 648072"/>
                <a:gd name="connsiteX1" fmla="*/ 324036 w 648072"/>
                <a:gd name="connsiteY1" fmla="*/ 0 h 648072"/>
                <a:gd name="connsiteX2" fmla="*/ 648072 w 648072"/>
                <a:gd name="connsiteY2" fmla="*/ 324036 h 648072"/>
                <a:gd name="connsiteX3" fmla="*/ 324036 w 648072"/>
                <a:gd name="connsiteY3" fmla="*/ 648072 h 648072"/>
                <a:gd name="connsiteX4" fmla="*/ 0 w 648072"/>
                <a:gd name="connsiteY4" fmla="*/ 324036 h 648072"/>
                <a:gd name="connsiteX0" fmla="*/ 0 w 648072"/>
                <a:gd name="connsiteY0" fmla="*/ 324036 h 648072"/>
                <a:gd name="connsiteX1" fmla="*/ 324036 w 648072"/>
                <a:gd name="connsiteY1" fmla="*/ 0 h 648072"/>
                <a:gd name="connsiteX2" fmla="*/ 648072 w 648072"/>
                <a:gd name="connsiteY2" fmla="*/ 324036 h 648072"/>
                <a:gd name="connsiteX3" fmla="*/ 324036 w 648072"/>
                <a:gd name="connsiteY3" fmla="*/ 648072 h 648072"/>
                <a:gd name="connsiteX4" fmla="*/ 91440 w 648072"/>
                <a:gd name="connsiteY4" fmla="*/ 415476 h 648072"/>
                <a:gd name="connsiteX0" fmla="*/ 0 w 648072"/>
                <a:gd name="connsiteY0" fmla="*/ 324036 h 648072"/>
                <a:gd name="connsiteX1" fmla="*/ 324036 w 648072"/>
                <a:gd name="connsiteY1" fmla="*/ 0 h 648072"/>
                <a:gd name="connsiteX2" fmla="*/ 648072 w 648072"/>
                <a:gd name="connsiteY2" fmla="*/ 324036 h 648072"/>
                <a:gd name="connsiteX3" fmla="*/ 324036 w 648072"/>
                <a:gd name="connsiteY3" fmla="*/ 648072 h 648072"/>
                <a:gd name="connsiteX0" fmla="*/ 0 w 324036"/>
                <a:gd name="connsiteY0" fmla="*/ 0 h 648072"/>
                <a:gd name="connsiteX1" fmla="*/ 324036 w 324036"/>
                <a:gd name="connsiteY1" fmla="*/ 324036 h 648072"/>
                <a:gd name="connsiteX2" fmla="*/ 0 w 324036"/>
                <a:gd name="connsiteY2" fmla="*/ 648072 h 6480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24036" h="648072">
                  <a:moveTo>
                    <a:pt x="0" y="0"/>
                  </a:moveTo>
                  <a:lnTo>
                    <a:pt x="324036" y="324036"/>
                  </a:lnTo>
                  <a:lnTo>
                    <a:pt x="0" y="648072"/>
                  </a:lnTo>
                </a:path>
              </a:pathLst>
            </a:custGeom>
            <a:noFill/>
            <a:ln w="152400">
              <a:solidFill>
                <a:schemeClr val="bg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144000" tIns="144000" rIns="144000" bIns="144000" rtlCol="0" anchor="ctr"/>
            <a:lstStyle/>
            <a:p>
              <a:pPr algn="ctr"/>
              <a:endParaRPr lang="en-US" sz="1400" b="1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80200897"/>
      </p:ext>
    </p:extLst>
  </p:cSld>
  <p:clrMapOvr>
    <a:masterClrMapping/>
  </p:clrMapOvr>
  <p:transition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hteck 10">
            <a:extLst>
              <a:ext uri="{FF2B5EF4-FFF2-40B4-BE49-F238E27FC236}">
                <a16:creationId xmlns:a16="http://schemas.microsoft.com/office/drawing/2014/main" id="{CD1E56A9-7120-0C1B-1DFE-FB4F2B9F90B7}"/>
              </a:ext>
            </a:extLst>
          </p:cNvPr>
          <p:cNvSpPr/>
          <p:nvPr userDrawn="1"/>
        </p:nvSpPr>
        <p:spPr bwMode="gray">
          <a:xfrm>
            <a:off x="10091738" y="1"/>
            <a:ext cx="2100262" cy="685799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CAF5B4F9-46BC-DCE2-AB96-AC7CB76E8AD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371475" y="368299"/>
            <a:ext cx="1728788" cy="1008063"/>
          </a:xfrm>
        </p:spPr>
        <p:txBody>
          <a:bodyPr tIns="252000"/>
          <a:lstStyle>
            <a:lvl1pPr>
              <a:defRPr sz="21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ontent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3A62E724-8D8E-017B-D237-54AB651DA61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black">
          <a:xfrm>
            <a:off x="2316163" y="368300"/>
            <a:ext cx="6588125" cy="4681538"/>
          </a:xfrm>
        </p:spPr>
        <p:txBody>
          <a:bodyPr tIns="252000"/>
          <a:lstStyle>
            <a:lvl1pPr marL="540000" indent="-540000">
              <a:lnSpc>
                <a:spcPct val="85000"/>
              </a:lnSpc>
              <a:spcBef>
                <a:spcPts val="1800"/>
              </a:spcBef>
              <a:spcAft>
                <a:spcPts val="600"/>
              </a:spcAft>
              <a:buClr>
                <a:schemeClr val="bg1"/>
              </a:buClr>
              <a:buFont typeface="+mj-lt"/>
              <a:buAutoNum type="arabicPeriod"/>
              <a:defRPr sz="3500">
                <a:solidFill>
                  <a:schemeClr val="accent1">
                    <a:lumMod val="20000"/>
                    <a:lumOff val="80000"/>
                  </a:schemeClr>
                </a:solidFill>
                <a:latin typeface="+mj-lt"/>
              </a:defRPr>
            </a:lvl1pPr>
            <a:lvl2pPr marL="808038" indent="-268288">
              <a:lnSpc>
                <a:spcPct val="100000"/>
              </a:lnSpc>
              <a:spcBef>
                <a:spcPts val="200"/>
              </a:spcBef>
              <a:spcAft>
                <a:spcPts val="400"/>
              </a:spcAft>
              <a:buClr>
                <a:schemeClr val="bg1"/>
              </a:buClr>
              <a:defRPr sz="1600">
                <a:solidFill>
                  <a:schemeClr val="bg1"/>
                </a:solidFill>
              </a:defRPr>
            </a:lvl2pPr>
            <a:lvl3pPr marL="808038" indent="-268288">
              <a:lnSpc>
                <a:spcPct val="100000"/>
              </a:lnSpc>
              <a:spcBef>
                <a:spcPts val="200"/>
              </a:spcBef>
              <a:spcAft>
                <a:spcPts val="400"/>
              </a:spcAft>
              <a:buClr>
                <a:schemeClr val="bg1"/>
              </a:buClr>
              <a:buFont typeface="+mj-lt"/>
              <a:buAutoNum type="alphaLcPeriod"/>
              <a:defRPr sz="1600">
                <a:solidFill>
                  <a:schemeClr val="bg1"/>
                </a:solidFill>
              </a:defRPr>
            </a:lvl3pPr>
            <a:lvl4pPr marL="540000" indent="0">
              <a:lnSpc>
                <a:spcPct val="100000"/>
              </a:lnSpc>
              <a:spcBef>
                <a:spcPts val="200"/>
              </a:spcBef>
              <a:spcAft>
                <a:spcPts val="400"/>
              </a:spcAft>
              <a:buNone/>
              <a:defRPr sz="1600" b="0">
                <a:solidFill>
                  <a:schemeClr val="bg1"/>
                </a:solidFill>
              </a:defRPr>
            </a:lvl4pPr>
            <a:lvl5pPr marL="540000" indent="0">
              <a:lnSpc>
                <a:spcPct val="100000"/>
              </a:lnSpc>
              <a:spcBef>
                <a:spcPts val="20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b="0">
                <a:solidFill>
                  <a:schemeClr val="bg1"/>
                </a:solidFill>
              </a:defRPr>
            </a:lvl5pPr>
            <a:lvl6pPr marL="540000" indent="0">
              <a:lnSpc>
                <a:spcPct val="100000"/>
              </a:lnSpc>
              <a:spcBef>
                <a:spcPts val="200"/>
              </a:spcBef>
              <a:spcAft>
                <a:spcPts val="400"/>
              </a:spcAft>
              <a:defRPr sz="1600" b="0">
                <a:solidFill>
                  <a:schemeClr val="bg1"/>
                </a:solidFill>
              </a:defRPr>
            </a:lvl6pPr>
            <a:lvl7pPr marL="540000" indent="0">
              <a:lnSpc>
                <a:spcPct val="100000"/>
              </a:lnSpc>
              <a:spcBef>
                <a:spcPts val="200"/>
              </a:spcBef>
              <a:spcAft>
                <a:spcPts val="400"/>
              </a:spcAft>
              <a:defRPr sz="1600" b="0">
                <a:solidFill>
                  <a:schemeClr val="bg1"/>
                </a:solidFill>
              </a:defRPr>
            </a:lvl7pPr>
            <a:lvl8pPr marL="540000" indent="0">
              <a:lnSpc>
                <a:spcPct val="100000"/>
              </a:lnSpc>
              <a:spcBef>
                <a:spcPts val="200"/>
              </a:spcBef>
              <a:spcAft>
                <a:spcPts val="400"/>
              </a:spcAft>
              <a:defRPr sz="1600" b="0">
                <a:solidFill>
                  <a:schemeClr val="bg1"/>
                </a:solidFill>
              </a:defRPr>
            </a:lvl8pPr>
            <a:lvl9pPr marL="540000" indent="0">
              <a:lnSpc>
                <a:spcPct val="100000"/>
              </a:lnSpc>
              <a:spcBef>
                <a:spcPts val="200"/>
              </a:spcBef>
              <a:spcAft>
                <a:spcPts val="400"/>
              </a:spcAft>
              <a:defRPr sz="1800" b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3" name="Datumsplatzhalter 3">
            <a:extLst>
              <a:ext uri="{FF2B5EF4-FFF2-40B4-BE49-F238E27FC236}">
                <a16:creationId xmlns:a16="http://schemas.microsoft.com/office/drawing/2014/main" id="{AA1E83E6-0784-7D15-05B6-ECA93ACB4E01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gray">
          <a:xfrm>
            <a:off x="0" y="6858000"/>
            <a:ext cx="0" cy="0"/>
          </a:xfrm>
          <a:prstGeom prst="rect">
            <a:avLst/>
          </a:prstGeom>
        </p:spPr>
        <p:txBody>
          <a:bodyPr wrap="none">
            <a:normAutofit/>
          </a:bodyPr>
          <a:lstStyle>
            <a:lvl1pPr>
              <a:defRPr>
                <a:noFill/>
              </a:defRPr>
            </a:lvl1pPr>
          </a:lstStyle>
          <a:p>
            <a:fld id="{712354FD-0474-4525-BD33-C643DFB57DBF}" type="datetime3">
              <a:rPr lang="de-DE" smtClean="0"/>
              <a:t>01/07/2025</a:t>
            </a:fld>
            <a:endParaRPr lang="en-US" dirty="0"/>
          </a:p>
        </p:txBody>
      </p:sp>
      <p:sp>
        <p:nvSpPr>
          <p:cNvPr id="4" name="Fußzeilenplatzhalter 4">
            <a:extLst>
              <a:ext uri="{FF2B5EF4-FFF2-40B4-BE49-F238E27FC236}">
                <a16:creationId xmlns:a16="http://schemas.microsoft.com/office/drawing/2014/main" id="{64CFC666-FAD5-95CE-AB04-8312C38E5E3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>
          <a:xfrm>
            <a:off x="0" y="6858000"/>
            <a:ext cx="0" cy="0"/>
          </a:xfrm>
        </p:spPr>
        <p:txBody>
          <a:bodyPr wrap="none">
            <a:normAutofit/>
          </a:bodyPr>
          <a:lstStyle>
            <a:lvl1pPr>
              <a:defRPr sz="100">
                <a:noFill/>
              </a:defRPr>
            </a:lvl1pPr>
          </a:lstStyle>
          <a:p>
            <a:r>
              <a:rPr lang="en-US"/>
              <a:t>Name - Title of Presentation</a:t>
            </a:r>
            <a:endParaRPr lang="en-US" dirty="0"/>
          </a:p>
        </p:txBody>
      </p:sp>
      <p:sp>
        <p:nvSpPr>
          <p:cNvPr id="5" name="Foliennummernplatzhalter 5">
            <a:extLst>
              <a:ext uri="{FF2B5EF4-FFF2-40B4-BE49-F238E27FC236}">
                <a16:creationId xmlns:a16="http://schemas.microsoft.com/office/drawing/2014/main" id="{E88CBA03-8F50-B545-A32B-4EB8051F12C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>
          <a:xfrm>
            <a:off x="0" y="6858000"/>
            <a:ext cx="0" cy="0"/>
          </a:xfrm>
        </p:spPr>
        <p:txBody>
          <a:bodyPr wrap="none">
            <a:normAutofit/>
          </a:bodyPr>
          <a:lstStyle>
            <a:lvl1pPr>
              <a:defRPr sz="100">
                <a:noFill/>
              </a:defRPr>
            </a:lvl1pPr>
          </a:lstStyle>
          <a:p>
            <a:fld id="{776FC98F-84AD-404B-BCCB-49E092AA6DE0}" type="slidenum">
              <a:rPr lang="en-US" smtClean="0"/>
              <a:pPr/>
              <a:t>‹#›</a:t>
            </a:fld>
            <a:endParaRPr lang="en-US" dirty="0"/>
          </a:p>
        </p:txBody>
      </p:sp>
      <p:grpSp>
        <p:nvGrpSpPr>
          <p:cNvPr id="6" name="Gruppieren 8">
            <a:extLst>
              <a:ext uri="{FF2B5EF4-FFF2-40B4-BE49-F238E27FC236}">
                <a16:creationId xmlns:a16="http://schemas.microsoft.com/office/drawing/2014/main" id="{4F193AEC-6C33-5D16-E8BD-11008ABD0D26}"/>
              </a:ext>
            </a:extLst>
          </p:cNvPr>
          <p:cNvGrpSpPr>
            <a:grpSpLocks/>
          </p:cNvGrpSpPr>
          <p:nvPr userDrawn="1"/>
        </p:nvGrpSpPr>
        <p:grpSpPr bwMode="gray">
          <a:xfrm>
            <a:off x="10710878" y="368659"/>
            <a:ext cx="861983" cy="309203"/>
            <a:chOff x="11189494" y="381000"/>
            <a:chExt cx="621506" cy="222941"/>
          </a:xfrm>
        </p:grpSpPr>
        <p:sp>
          <p:nvSpPr>
            <p:cNvPr id="12" name="Freihandform: Form 9">
              <a:extLst>
                <a:ext uri="{FF2B5EF4-FFF2-40B4-BE49-F238E27FC236}">
                  <a16:creationId xmlns:a16="http://schemas.microsoft.com/office/drawing/2014/main" id="{BA3CA40A-7851-2B35-5B5A-35D208E18409}"/>
                </a:ext>
              </a:extLst>
            </p:cNvPr>
            <p:cNvSpPr/>
            <p:nvPr/>
          </p:nvSpPr>
          <p:spPr bwMode="gray">
            <a:xfrm>
              <a:off x="11360511" y="381000"/>
              <a:ext cx="450489" cy="222941"/>
            </a:xfrm>
            <a:custGeom>
              <a:avLst/>
              <a:gdLst>
                <a:gd name="connsiteX0" fmla="*/ 303449 w 450489"/>
                <a:gd name="connsiteY0" fmla="*/ 222 h 222941"/>
                <a:gd name="connsiteX1" fmla="*/ 450489 w 450489"/>
                <a:gd name="connsiteY1" fmla="*/ 222 h 222941"/>
                <a:gd name="connsiteX2" fmla="*/ 450489 w 450489"/>
                <a:gd name="connsiteY2" fmla="*/ 50305 h 222941"/>
                <a:gd name="connsiteX3" fmla="*/ 407489 w 450489"/>
                <a:gd name="connsiteY3" fmla="*/ 50305 h 222941"/>
                <a:gd name="connsiteX4" fmla="*/ 407489 w 450489"/>
                <a:gd name="connsiteY4" fmla="*/ 222941 h 222941"/>
                <a:gd name="connsiteX5" fmla="*/ 346449 w 450489"/>
                <a:gd name="connsiteY5" fmla="*/ 222941 h 222941"/>
                <a:gd name="connsiteX6" fmla="*/ 346449 w 450489"/>
                <a:gd name="connsiteY6" fmla="*/ 50305 h 222941"/>
                <a:gd name="connsiteX7" fmla="*/ 303449 w 450489"/>
                <a:gd name="connsiteY7" fmla="*/ 50305 h 222941"/>
                <a:gd name="connsiteX8" fmla="*/ 227770 w 450489"/>
                <a:gd name="connsiteY8" fmla="*/ 222 h 222941"/>
                <a:gd name="connsiteX9" fmla="*/ 288808 w 450489"/>
                <a:gd name="connsiteY9" fmla="*/ 222 h 222941"/>
                <a:gd name="connsiteX10" fmla="*/ 288808 w 450489"/>
                <a:gd name="connsiteY10" fmla="*/ 222719 h 222941"/>
                <a:gd name="connsiteX11" fmla="*/ 227770 w 450489"/>
                <a:gd name="connsiteY11" fmla="*/ 222719 h 222941"/>
                <a:gd name="connsiteX12" fmla="*/ 52591 w 450489"/>
                <a:gd name="connsiteY12" fmla="*/ 222 h 222941"/>
                <a:gd name="connsiteX13" fmla="*/ 54433 w 450489"/>
                <a:gd name="connsiteY13" fmla="*/ 222 h 222941"/>
                <a:gd name="connsiteX14" fmla="*/ 54211 w 450489"/>
                <a:gd name="connsiteY14" fmla="*/ 222719 h 222941"/>
                <a:gd name="connsiteX15" fmla="*/ 54179 w 450489"/>
                <a:gd name="connsiteY15" fmla="*/ 222719 h 222941"/>
                <a:gd name="connsiteX16" fmla="*/ 0 w 450489"/>
                <a:gd name="connsiteY16" fmla="*/ 6637 h 222941"/>
                <a:gd name="connsiteX17" fmla="*/ 52591 w 450489"/>
                <a:gd name="connsiteY17" fmla="*/ 222 h 222941"/>
                <a:gd name="connsiteX18" fmla="*/ 147041 w 450489"/>
                <a:gd name="connsiteY18" fmla="*/ 0 h 222941"/>
                <a:gd name="connsiteX19" fmla="*/ 217003 w 450489"/>
                <a:gd name="connsiteY19" fmla="*/ 0 h 222941"/>
                <a:gd name="connsiteX20" fmla="*/ 126906 w 450489"/>
                <a:gd name="connsiteY20" fmla="*/ 112042 h 222941"/>
                <a:gd name="connsiteX21" fmla="*/ 217448 w 450489"/>
                <a:gd name="connsiteY21" fmla="*/ 222719 h 222941"/>
                <a:gd name="connsiteX22" fmla="*/ 149581 w 450489"/>
                <a:gd name="connsiteY22" fmla="*/ 222719 h 222941"/>
                <a:gd name="connsiteX23" fmla="*/ 68852 w 450489"/>
                <a:gd name="connsiteY23" fmla="*/ 136051 h 222941"/>
                <a:gd name="connsiteX24" fmla="*/ 68852 w 450489"/>
                <a:gd name="connsiteY24" fmla="*/ 86446 h 2229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450489" h="222941">
                  <a:moveTo>
                    <a:pt x="303449" y="222"/>
                  </a:moveTo>
                  <a:lnTo>
                    <a:pt x="450489" y="222"/>
                  </a:lnTo>
                  <a:lnTo>
                    <a:pt x="450489" y="50305"/>
                  </a:lnTo>
                  <a:lnTo>
                    <a:pt x="407489" y="50305"/>
                  </a:lnTo>
                  <a:lnTo>
                    <a:pt x="407489" y="222941"/>
                  </a:lnTo>
                  <a:lnTo>
                    <a:pt x="346449" y="222941"/>
                  </a:lnTo>
                  <a:lnTo>
                    <a:pt x="346449" y="50305"/>
                  </a:lnTo>
                  <a:lnTo>
                    <a:pt x="303449" y="50305"/>
                  </a:lnTo>
                  <a:close/>
                  <a:moveTo>
                    <a:pt x="227770" y="222"/>
                  </a:moveTo>
                  <a:lnTo>
                    <a:pt x="288808" y="222"/>
                  </a:lnTo>
                  <a:lnTo>
                    <a:pt x="288808" y="222719"/>
                  </a:lnTo>
                  <a:lnTo>
                    <a:pt x="227770" y="222719"/>
                  </a:lnTo>
                  <a:close/>
                  <a:moveTo>
                    <a:pt x="52591" y="222"/>
                  </a:moveTo>
                  <a:lnTo>
                    <a:pt x="54433" y="222"/>
                  </a:lnTo>
                  <a:lnTo>
                    <a:pt x="54211" y="222719"/>
                  </a:lnTo>
                  <a:lnTo>
                    <a:pt x="54179" y="222719"/>
                  </a:lnTo>
                  <a:lnTo>
                    <a:pt x="0" y="6637"/>
                  </a:lnTo>
                  <a:cubicBezTo>
                    <a:pt x="16927" y="2509"/>
                    <a:pt x="34521" y="222"/>
                    <a:pt x="52591" y="222"/>
                  </a:cubicBezTo>
                  <a:close/>
                  <a:moveTo>
                    <a:pt x="147041" y="0"/>
                  </a:moveTo>
                  <a:lnTo>
                    <a:pt x="217003" y="0"/>
                  </a:lnTo>
                  <a:lnTo>
                    <a:pt x="126906" y="112042"/>
                  </a:lnTo>
                  <a:lnTo>
                    <a:pt x="217448" y="222719"/>
                  </a:lnTo>
                  <a:lnTo>
                    <a:pt x="149581" y="222719"/>
                  </a:lnTo>
                  <a:lnTo>
                    <a:pt x="68852" y="136051"/>
                  </a:lnTo>
                  <a:lnTo>
                    <a:pt x="68852" y="86446"/>
                  </a:ln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3" name="Freihandform: Form 10">
              <a:extLst>
                <a:ext uri="{FF2B5EF4-FFF2-40B4-BE49-F238E27FC236}">
                  <a16:creationId xmlns:a16="http://schemas.microsoft.com/office/drawing/2014/main" id="{E7EC9A8E-93DF-7D38-89A8-78C0093850F3}"/>
                </a:ext>
              </a:extLst>
            </p:cNvPr>
            <p:cNvSpPr/>
            <p:nvPr/>
          </p:nvSpPr>
          <p:spPr bwMode="gray">
            <a:xfrm>
              <a:off x="11189494" y="401800"/>
              <a:ext cx="225229" cy="201918"/>
            </a:xfrm>
            <a:custGeom>
              <a:avLst/>
              <a:gdLst>
                <a:gd name="connsiteX0" fmla="*/ 225193 w 225229"/>
                <a:gd name="connsiteY0" fmla="*/ 201842 h 201918"/>
                <a:gd name="connsiteX1" fmla="*/ 225228 w 225229"/>
                <a:gd name="connsiteY1" fmla="*/ 201885 h 201918"/>
                <a:gd name="connsiteX2" fmla="*/ 225228 w 225229"/>
                <a:gd name="connsiteY2" fmla="*/ 201917 h 201918"/>
                <a:gd name="connsiteX3" fmla="*/ 7082 w 225229"/>
                <a:gd name="connsiteY3" fmla="*/ 147485 h 201918"/>
                <a:gd name="connsiteX4" fmla="*/ 225228 w 225229"/>
                <a:gd name="connsiteY4" fmla="*/ 201918 h 201918"/>
                <a:gd name="connsiteX5" fmla="*/ 0 w 225229"/>
                <a:gd name="connsiteY5" fmla="*/ 201918 h 201918"/>
                <a:gd name="connsiteX6" fmla="*/ 7082 w 225229"/>
                <a:gd name="connsiteY6" fmla="*/ 147485 h 201918"/>
                <a:gd name="connsiteX7" fmla="*/ 51226 w 225229"/>
                <a:gd name="connsiteY7" fmla="*/ 60817 h 201918"/>
                <a:gd name="connsiteX8" fmla="*/ 225229 w 225229"/>
                <a:gd name="connsiteY8" fmla="*/ 201918 h 201918"/>
                <a:gd name="connsiteX9" fmla="*/ 21723 w 225229"/>
                <a:gd name="connsiteY9" fmla="*/ 107247 h 201918"/>
                <a:gd name="connsiteX10" fmla="*/ 51226 w 225229"/>
                <a:gd name="connsiteY10" fmla="*/ 60817 h 201918"/>
                <a:gd name="connsiteX11" fmla="*/ 130335 w 225229"/>
                <a:gd name="connsiteY11" fmla="*/ 0 h 201918"/>
                <a:gd name="connsiteX12" fmla="*/ 225193 w 225229"/>
                <a:gd name="connsiteY12" fmla="*/ 201842 h 201918"/>
                <a:gd name="connsiteX13" fmla="*/ 83682 w 225229"/>
                <a:gd name="connsiteY13" fmla="*/ 28805 h 201918"/>
                <a:gd name="connsiteX14" fmla="*/ 130335 w 225229"/>
                <a:gd name="connsiteY14" fmla="*/ 0 h 2019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25229" h="201918">
                  <a:moveTo>
                    <a:pt x="225193" y="201842"/>
                  </a:moveTo>
                  <a:lnTo>
                    <a:pt x="225228" y="201885"/>
                  </a:lnTo>
                  <a:lnTo>
                    <a:pt x="225228" y="201917"/>
                  </a:lnTo>
                  <a:close/>
                  <a:moveTo>
                    <a:pt x="7082" y="147485"/>
                  </a:moveTo>
                  <a:lnTo>
                    <a:pt x="225228" y="201918"/>
                  </a:lnTo>
                  <a:lnTo>
                    <a:pt x="0" y="201918"/>
                  </a:lnTo>
                  <a:cubicBezTo>
                    <a:pt x="222" y="183149"/>
                    <a:pt x="2509" y="164857"/>
                    <a:pt x="7082" y="147485"/>
                  </a:cubicBezTo>
                  <a:close/>
                  <a:moveTo>
                    <a:pt x="51226" y="60817"/>
                  </a:moveTo>
                  <a:lnTo>
                    <a:pt x="225229" y="201918"/>
                  </a:lnTo>
                  <a:lnTo>
                    <a:pt x="21723" y="107247"/>
                  </a:lnTo>
                  <a:cubicBezTo>
                    <a:pt x="29504" y="90543"/>
                    <a:pt x="39571" y="74981"/>
                    <a:pt x="51226" y="60817"/>
                  </a:cubicBezTo>
                  <a:close/>
                  <a:moveTo>
                    <a:pt x="130335" y="0"/>
                  </a:moveTo>
                  <a:lnTo>
                    <a:pt x="225193" y="201842"/>
                  </a:lnTo>
                  <a:lnTo>
                    <a:pt x="83682" y="28805"/>
                  </a:lnTo>
                  <a:cubicBezTo>
                    <a:pt x="97878" y="17372"/>
                    <a:pt x="113408" y="7781"/>
                    <a:pt x="130335" y="0"/>
                  </a:cubicBezTo>
                  <a:close/>
                </a:path>
              </a:pathLst>
            </a:custGeom>
            <a:solidFill>
              <a:schemeClr val="accent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205079192"/>
      </p:ext>
    </p:extLst>
  </p:cSld>
  <p:clrMapOvr>
    <a:masterClrMapping/>
  </p:clrMapOvr>
  <p:transition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blu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hteck 10">
            <a:extLst>
              <a:ext uri="{FF2B5EF4-FFF2-40B4-BE49-F238E27FC236}">
                <a16:creationId xmlns:a16="http://schemas.microsoft.com/office/drawing/2014/main" id="{CD1E56A9-7120-0C1B-1DFE-FB4F2B9F90B7}"/>
              </a:ext>
            </a:extLst>
          </p:cNvPr>
          <p:cNvSpPr/>
          <p:nvPr userDrawn="1"/>
        </p:nvSpPr>
        <p:spPr bwMode="gray">
          <a:xfrm>
            <a:off x="10091738" y="0"/>
            <a:ext cx="2100262" cy="6857999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CAF5B4F9-46BC-DCE2-AB96-AC7CB76E8AD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371475" y="368300"/>
            <a:ext cx="1728788" cy="1008063"/>
          </a:xfrm>
        </p:spPr>
        <p:txBody>
          <a:bodyPr tIns="252000"/>
          <a:lstStyle>
            <a:lvl1pPr>
              <a:defRPr sz="21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ontent</a:t>
            </a:r>
          </a:p>
        </p:txBody>
      </p:sp>
      <p:sp>
        <p:nvSpPr>
          <p:cNvPr id="6" name="Datumsplatzhalter 3">
            <a:extLst>
              <a:ext uri="{FF2B5EF4-FFF2-40B4-BE49-F238E27FC236}">
                <a16:creationId xmlns:a16="http://schemas.microsoft.com/office/drawing/2014/main" id="{C2C08001-0F3C-B494-75F8-9E71BBFF6810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gray">
          <a:xfrm>
            <a:off x="0" y="6858000"/>
            <a:ext cx="0" cy="0"/>
          </a:xfrm>
          <a:prstGeom prst="rect">
            <a:avLst/>
          </a:prstGeom>
        </p:spPr>
        <p:txBody>
          <a:bodyPr wrap="none">
            <a:normAutofit/>
          </a:bodyPr>
          <a:lstStyle>
            <a:lvl1pPr>
              <a:defRPr>
                <a:noFill/>
              </a:defRPr>
            </a:lvl1pPr>
          </a:lstStyle>
          <a:p>
            <a:fld id="{1209B3AE-76C7-4718-9D63-1C9D9E3076EB}" type="datetime3">
              <a:rPr lang="de-DE" smtClean="0"/>
              <a:t>01/07/2025</a:t>
            </a:fld>
            <a:endParaRPr lang="en-US" dirty="0"/>
          </a:p>
        </p:txBody>
      </p:sp>
      <p:sp>
        <p:nvSpPr>
          <p:cNvPr id="15" name="Fußzeilenplatzhalter 4">
            <a:extLst>
              <a:ext uri="{FF2B5EF4-FFF2-40B4-BE49-F238E27FC236}">
                <a16:creationId xmlns:a16="http://schemas.microsoft.com/office/drawing/2014/main" id="{B6259812-E65C-E700-2748-83B9B6FC5AE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>
          <a:xfrm>
            <a:off x="0" y="6858000"/>
            <a:ext cx="0" cy="0"/>
          </a:xfrm>
        </p:spPr>
        <p:txBody>
          <a:bodyPr wrap="none">
            <a:normAutofit/>
          </a:bodyPr>
          <a:lstStyle>
            <a:lvl1pPr>
              <a:defRPr sz="100">
                <a:noFill/>
              </a:defRPr>
            </a:lvl1pPr>
          </a:lstStyle>
          <a:p>
            <a:r>
              <a:rPr lang="en-US"/>
              <a:t>Name - Title of Presentation</a:t>
            </a:r>
            <a:endParaRPr lang="en-US" dirty="0"/>
          </a:p>
        </p:txBody>
      </p:sp>
      <p:sp>
        <p:nvSpPr>
          <p:cNvPr id="16" name="Foliennummernplatzhalter 5">
            <a:extLst>
              <a:ext uri="{FF2B5EF4-FFF2-40B4-BE49-F238E27FC236}">
                <a16:creationId xmlns:a16="http://schemas.microsoft.com/office/drawing/2014/main" id="{09484FD1-E4AD-217E-F687-4A210DD2A54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>
          <a:xfrm>
            <a:off x="0" y="6858000"/>
            <a:ext cx="0" cy="0"/>
          </a:xfrm>
        </p:spPr>
        <p:txBody>
          <a:bodyPr wrap="none">
            <a:normAutofit/>
          </a:bodyPr>
          <a:lstStyle>
            <a:lvl1pPr>
              <a:defRPr sz="100">
                <a:noFill/>
              </a:defRPr>
            </a:lvl1pPr>
          </a:lstStyle>
          <a:p>
            <a:fld id="{776FC98F-84AD-404B-BCCB-49E092AA6DE0}" type="slidenum">
              <a:rPr lang="en-US" smtClean="0"/>
              <a:pPr/>
              <a:t>‹#›</a:t>
            </a:fld>
            <a:endParaRPr lang="en-US" dirty="0"/>
          </a:p>
        </p:txBody>
      </p:sp>
      <p:grpSp>
        <p:nvGrpSpPr>
          <p:cNvPr id="4" name="Gruppieren 8">
            <a:extLst>
              <a:ext uri="{FF2B5EF4-FFF2-40B4-BE49-F238E27FC236}">
                <a16:creationId xmlns:a16="http://schemas.microsoft.com/office/drawing/2014/main" id="{76DED8B8-EFA6-718F-9119-0912343D0EB1}"/>
              </a:ext>
            </a:extLst>
          </p:cNvPr>
          <p:cNvGrpSpPr>
            <a:grpSpLocks/>
          </p:cNvGrpSpPr>
          <p:nvPr userDrawn="1"/>
        </p:nvGrpSpPr>
        <p:grpSpPr bwMode="gray">
          <a:xfrm>
            <a:off x="10710878" y="368659"/>
            <a:ext cx="861983" cy="309203"/>
            <a:chOff x="11189494" y="381000"/>
            <a:chExt cx="621506" cy="222941"/>
          </a:xfrm>
          <a:solidFill>
            <a:schemeClr val="bg1"/>
          </a:solidFill>
        </p:grpSpPr>
        <p:sp>
          <p:nvSpPr>
            <p:cNvPr id="5" name="Freihandform: Form 9">
              <a:extLst>
                <a:ext uri="{FF2B5EF4-FFF2-40B4-BE49-F238E27FC236}">
                  <a16:creationId xmlns:a16="http://schemas.microsoft.com/office/drawing/2014/main" id="{234776EF-E104-BAD6-7E97-FEE9CFC66A6D}"/>
                </a:ext>
              </a:extLst>
            </p:cNvPr>
            <p:cNvSpPr/>
            <p:nvPr/>
          </p:nvSpPr>
          <p:spPr bwMode="gray">
            <a:xfrm>
              <a:off x="11360511" y="381000"/>
              <a:ext cx="450489" cy="222941"/>
            </a:xfrm>
            <a:custGeom>
              <a:avLst/>
              <a:gdLst>
                <a:gd name="connsiteX0" fmla="*/ 303449 w 450489"/>
                <a:gd name="connsiteY0" fmla="*/ 222 h 222941"/>
                <a:gd name="connsiteX1" fmla="*/ 450489 w 450489"/>
                <a:gd name="connsiteY1" fmla="*/ 222 h 222941"/>
                <a:gd name="connsiteX2" fmla="*/ 450489 w 450489"/>
                <a:gd name="connsiteY2" fmla="*/ 50305 h 222941"/>
                <a:gd name="connsiteX3" fmla="*/ 407489 w 450489"/>
                <a:gd name="connsiteY3" fmla="*/ 50305 h 222941"/>
                <a:gd name="connsiteX4" fmla="*/ 407489 w 450489"/>
                <a:gd name="connsiteY4" fmla="*/ 222941 h 222941"/>
                <a:gd name="connsiteX5" fmla="*/ 346449 w 450489"/>
                <a:gd name="connsiteY5" fmla="*/ 222941 h 222941"/>
                <a:gd name="connsiteX6" fmla="*/ 346449 w 450489"/>
                <a:gd name="connsiteY6" fmla="*/ 50305 h 222941"/>
                <a:gd name="connsiteX7" fmla="*/ 303449 w 450489"/>
                <a:gd name="connsiteY7" fmla="*/ 50305 h 222941"/>
                <a:gd name="connsiteX8" fmla="*/ 227770 w 450489"/>
                <a:gd name="connsiteY8" fmla="*/ 222 h 222941"/>
                <a:gd name="connsiteX9" fmla="*/ 288808 w 450489"/>
                <a:gd name="connsiteY9" fmla="*/ 222 h 222941"/>
                <a:gd name="connsiteX10" fmla="*/ 288808 w 450489"/>
                <a:gd name="connsiteY10" fmla="*/ 222719 h 222941"/>
                <a:gd name="connsiteX11" fmla="*/ 227770 w 450489"/>
                <a:gd name="connsiteY11" fmla="*/ 222719 h 222941"/>
                <a:gd name="connsiteX12" fmla="*/ 52591 w 450489"/>
                <a:gd name="connsiteY12" fmla="*/ 222 h 222941"/>
                <a:gd name="connsiteX13" fmla="*/ 54433 w 450489"/>
                <a:gd name="connsiteY13" fmla="*/ 222 h 222941"/>
                <a:gd name="connsiteX14" fmla="*/ 54211 w 450489"/>
                <a:gd name="connsiteY14" fmla="*/ 222719 h 222941"/>
                <a:gd name="connsiteX15" fmla="*/ 54179 w 450489"/>
                <a:gd name="connsiteY15" fmla="*/ 222719 h 222941"/>
                <a:gd name="connsiteX16" fmla="*/ 0 w 450489"/>
                <a:gd name="connsiteY16" fmla="*/ 6637 h 222941"/>
                <a:gd name="connsiteX17" fmla="*/ 52591 w 450489"/>
                <a:gd name="connsiteY17" fmla="*/ 222 h 222941"/>
                <a:gd name="connsiteX18" fmla="*/ 147041 w 450489"/>
                <a:gd name="connsiteY18" fmla="*/ 0 h 222941"/>
                <a:gd name="connsiteX19" fmla="*/ 217003 w 450489"/>
                <a:gd name="connsiteY19" fmla="*/ 0 h 222941"/>
                <a:gd name="connsiteX20" fmla="*/ 126906 w 450489"/>
                <a:gd name="connsiteY20" fmla="*/ 112042 h 222941"/>
                <a:gd name="connsiteX21" fmla="*/ 217448 w 450489"/>
                <a:gd name="connsiteY21" fmla="*/ 222719 h 222941"/>
                <a:gd name="connsiteX22" fmla="*/ 149581 w 450489"/>
                <a:gd name="connsiteY22" fmla="*/ 222719 h 222941"/>
                <a:gd name="connsiteX23" fmla="*/ 68852 w 450489"/>
                <a:gd name="connsiteY23" fmla="*/ 136051 h 222941"/>
                <a:gd name="connsiteX24" fmla="*/ 68852 w 450489"/>
                <a:gd name="connsiteY24" fmla="*/ 86446 h 2229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450489" h="222941">
                  <a:moveTo>
                    <a:pt x="303449" y="222"/>
                  </a:moveTo>
                  <a:lnTo>
                    <a:pt x="450489" y="222"/>
                  </a:lnTo>
                  <a:lnTo>
                    <a:pt x="450489" y="50305"/>
                  </a:lnTo>
                  <a:lnTo>
                    <a:pt x="407489" y="50305"/>
                  </a:lnTo>
                  <a:lnTo>
                    <a:pt x="407489" y="222941"/>
                  </a:lnTo>
                  <a:lnTo>
                    <a:pt x="346449" y="222941"/>
                  </a:lnTo>
                  <a:lnTo>
                    <a:pt x="346449" y="50305"/>
                  </a:lnTo>
                  <a:lnTo>
                    <a:pt x="303449" y="50305"/>
                  </a:lnTo>
                  <a:close/>
                  <a:moveTo>
                    <a:pt x="227770" y="222"/>
                  </a:moveTo>
                  <a:lnTo>
                    <a:pt x="288808" y="222"/>
                  </a:lnTo>
                  <a:lnTo>
                    <a:pt x="288808" y="222719"/>
                  </a:lnTo>
                  <a:lnTo>
                    <a:pt x="227770" y="222719"/>
                  </a:lnTo>
                  <a:close/>
                  <a:moveTo>
                    <a:pt x="52591" y="222"/>
                  </a:moveTo>
                  <a:lnTo>
                    <a:pt x="54433" y="222"/>
                  </a:lnTo>
                  <a:lnTo>
                    <a:pt x="54211" y="222719"/>
                  </a:lnTo>
                  <a:lnTo>
                    <a:pt x="54179" y="222719"/>
                  </a:lnTo>
                  <a:lnTo>
                    <a:pt x="0" y="6637"/>
                  </a:lnTo>
                  <a:cubicBezTo>
                    <a:pt x="16927" y="2509"/>
                    <a:pt x="34521" y="222"/>
                    <a:pt x="52591" y="222"/>
                  </a:cubicBezTo>
                  <a:close/>
                  <a:moveTo>
                    <a:pt x="147041" y="0"/>
                  </a:moveTo>
                  <a:lnTo>
                    <a:pt x="217003" y="0"/>
                  </a:lnTo>
                  <a:lnTo>
                    <a:pt x="126906" y="112042"/>
                  </a:lnTo>
                  <a:lnTo>
                    <a:pt x="217448" y="222719"/>
                  </a:lnTo>
                  <a:lnTo>
                    <a:pt x="149581" y="222719"/>
                  </a:lnTo>
                  <a:lnTo>
                    <a:pt x="68852" y="136051"/>
                  </a:lnTo>
                  <a:lnTo>
                    <a:pt x="68852" y="8644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2" name="Freihandform: Form 10">
              <a:extLst>
                <a:ext uri="{FF2B5EF4-FFF2-40B4-BE49-F238E27FC236}">
                  <a16:creationId xmlns:a16="http://schemas.microsoft.com/office/drawing/2014/main" id="{AB56C35B-7BF5-A86F-9241-BB993C9B0B83}"/>
                </a:ext>
              </a:extLst>
            </p:cNvPr>
            <p:cNvSpPr/>
            <p:nvPr/>
          </p:nvSpPr>
          <p:spPr bwMode="gray">
            <a:xfrm>
              <a:off x="11189494" y="401800"/>
              <a:ext cx="225229" cy="201918"/>
            </a:xfrm>
            <a:custGeom>
              <a:avLst/>
              <a:gdLst>
                <a:gd name="connsiteX0" fmla="*/ 225193 w 225229"/>
                <a:gd name="connsiteY0" fmla="*/ 201842 h 201918"/>
                <a:gd name="connsiteX1" fmla="*/ 225228 w 225229"/>
                <a:gd name="connsiteY1" fmla="*/ 201885 h 201918"/>
                <a:gd name="connsiteX2" fmla="*/ 225228 w 225229"/>
                <a:gd name="connsiteY2" fmla="*/ 201917 h 201918"/>
                <a:gd name="connsiteX3" fmla="*/ 7082 w 225229"/>
                <a:gd name="connsiteY3" fmla="*/ 147485 h 201918"/>
                <a:gd name="connsiteX4" fmla="*/ 225228 w 225229"/>
                <a:gd name="connsiteY4" fmla="*/ 201918 h 201918"/>
                <a:gd name="connsiteX5" fmla="*/ 0 w 225229"/>
                <a:gd name="connsiteY5" fmla="*/ 201918 h 201918"/>
                <a:gd name="connsiteX6" fmla="*/ 7082 w 225229"/>
                <a:gd name="connsiteY6" fmla="*/ 147485 h 201918"/>
                <a:gd name="connsiteX7" fmla="*/ 51226 w 225229"/>
                <a:gd name="connsiteY7" fmla="*/ 60817 h 201918"/>
                <a:gd name="connsiteX8" fmla="*/ 225229 w 225229"/>
                <a:gd name="connsiteY8" fmla="*/ 201918 h 201918"/>
                <a:gd name="connsiteX9" fmla="*/ 21723 w 225229"/>
                <a:gd name="connsiteY9" fmla="*/ 107247 h 201918"/>
                <a:gd name="connsiteX10" fmla="*/ 51226 w 225229"/>
                <a:gd name="connsiteY10" fmla="*/ 60817 h 201918"/>
                <a:gd name="connsiteX11" fmla="*/ 130335 w 225229"/>
                <a:gd name="connsiteY11" fmla="*/ 0 h 201918"/>
                <a:gd name="connsiteX12" fmla="*/ 225193 w 225229"/>
                <a:gd name="connsiteY12" fmla="*/ 201842 h 201918"/>
                <a:gd name="connsiteX13" fmla="*/ 83682 w 225229"/>
                <a:gd name="connsiteY13" fmla="*/ 28805 h 201918"/>
                <a:gd name="connsiteX14" fmla="*/ 130335 w 225229"/>
                <a:gd name="connsiteY14" fmla="*/ 0 h 2019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25229" h="201918">
                  <a:moveTo>
                    <a:pt x="225193" y="201842"/>
                  </a:moveTo>
                  <a:lnTo>
                    <a:pt x="225228" y="201885"/>
                  </a:lnTo>
                  <a:lnTo>
                    <a:pt x="225228" y="201917"/>
                  </a:lnTo>
                  <a:close/>
                  <a:moveTo>
                    <a:pt x="7082" y="147485"/>
                  </a:moveTo>
                  <a:lnTo>
                    <a:pt x="225228" y="201918"/>
                  </a:lnTo>
                  <a:lnTo>
                    <a:pt x="0" y="201918"/>
                  </a:lnTo>
                  <a:cubicBezTo>
                    <a:pt x="222" y="183149"/>
                    <a:pt x="2509" y="164857"/>
                    <a:pt x="7082" y="147485"/>
                  </a:cubicBezTo>
                  <a:close/>
                  <a:moveTo>
                    <a:pt x="51226" y="60817"/>
                  </a:moveTo>
                  <a:lnTo>
                    <a:pt x="225229" y="201918"/>
                  </a:lnTo>
                  <a:lnTo>
                    <a:pt x="21723" y="107247"/>
                  </a:lnTo>
                  <a:cubicBezTo>
                    <a:pt x="29504" y="90543"/>
                    <a:pt x="39571" y="74981"/>
                    <a:pt x="51226" y="60817"/>
                  </a:cubicBezTo>
                  <a:close/>
                  <a:moveTo>
                    <a:pt x="130335" y="0"/>
                  </a:moveTo>
                  <a:lnTo>
                    <a:pt x="225193" y="201842"/>
                  </a:lnTo>
                  <a:lnTo>
                    <a:pt x="83682" y="28805"/>
                  </a:lnTo>
                  <a:cubicBezTo>
                    <a:pt x="97878" y="17372"/>
                    <a:pt x="113408" y="7781"/>
                    <a:pt x="130335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8158AFF2-074B-D1FB-1C41-F829102F48F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black">
          <a:xfrm>
            <a:off x="2316163" y="368300"/>
            <a:ext cx="6588125" cy="4681538"/>
          </a:xfrm>
        </p:spPr>
        <p:txBody>
          <a:bodyPr tIns="252000"/>
          <a:lstStyle>
            <a:lvl1pPr marL="540000" indent="-540000">
              <a:lnSpc>
                <a:spcPct val="85000"/>
              </a:lnSpc>
              <a:spcBef>
                <a:spcPts val="1800"/>
              </a:spcBef>
              <a:spcAft>
                <a:spcPts val="600"/>
              </a:spcAft>
              <a:buClr>
                <a:schemeClr val="bg1"/>
              </a:buClr>
              <a:buFont typeface="+mj-lt"/>
              <a:buAutoNum type="arabicPeriod"/>
              <a:defRPr sz="3500">
                <a:solidFill>
                  <a:schemeClr val="accent1">
                    <a:lumMod val="20000"/>
                    <a:lumOff val="80000"/>
                  </a:schemeClr>
                </a:solidFill>
                <a:latin typeface="+mj-lt"/>
              </a:defRPr>
            </a:lvl1pPr>
            <a:lvl2pPr marL="808038" indent="-268288">
              <a:lnSpc>
                <a:spcPct val="100000"/>
              </a:lnSpc>
              <a:spcBef>
                <a:spcPts val="200"/>
              </a:spcBef>
              <a:spcAft>
                <a:spcPts val="400"/>
              </a:spcAft>
              <a:buClr>
                <a:schemeClr val="bg1"/>
              </a:buClr>
              <a:defRPr sz="1600">
                <a:solidFill>
                  <a:schemeClr val="bg1"/>
                </a:solidFill>
              </a:defRPr>
            </a:lvl2pPr>
            <a:lvl3pPr marL="808038" indent="-268288">
              <a:lnSpc>
                <a:spcPct val="100000"/>
              </a:lnSpc>
              <a:spcBef>
                <a:spcPts val="200"/>
              </a:spcBef>
              <a:spcAft>
                <a:spcPts val="400"/>
              </a:spcAft>
              <a:buClr>
                <a:schemeClr val="bg1"/>
              </a:buClr>
              <a:buFont typeface="+mj-lt"/>
              <a:buAutoNum type="alphaLcPeriod"/>
              <a:defRPr sz="1600">
                <a:solidFill>
                  <a:schemeClr val="bg1"/>
                </a:solidFill>
              </a:defRPr>
            </a:lvl3pPr>
            <a:lvl4pPr marL="540000" indent="0">
              <a:lnSpc>
                <a:spcPct val="100000"/>
              </a:lnSpc>
              <a:spcBef>
                <a:spcPts val="200"/>
              </a:spcBef>
              <a:spcAft>
                <a:spcPts val="400"/>
              </a:spcAft>
              <a:buNone/>
              <a:defRPr sz="1600" b="0">
                <a:solidFill>
                  <a:schemeClr val="bg1"/>
                </a:solidFill>
              </a:defRPr>
            </a:lvl4pPr>
            <a:lvl5pPr marL="540000" indent="0">
              <a:lnSpc>
                <a:spcPct val="100000"/>
              </a:lnSpc>
              <a:spcBef>
                <a:spcPts val="20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b="0">
                <a:solidFill>
                  <a:schemeClr val="bg1"/>
                </a:solidFill>
              </a:defRPr>
            </a:lvl5pPr>
            <a:lvl6pPr marL="540000" indent="0">
              <a:lnSpc>
                <a:spcPct val="100000"/>
              </a:lnSpc>
              <a:spcBef>
                <a:spcPts val="200"/>
              </a:spcBef>
              <a:spcAft>
                <a:spcPts val="400"/>
              </a:spcAft>
              <a:defRPr sz="1600" b="0">
                <a:solidFill>
                  <a:schemeClr val="bg1"/>
                </a:solidFill>
              </a:defRPr>
            </a:lvl6pPr>
            <a:lvl7pPr marL="540000" indent="0">
              <a:lnSpc>
                <a:spcPct val="100000"/>
              </a:lnSpc>
              <a:spcBef>
                <a:spcPts val="200"/>
              </a:spcBef>
              <a:spcAft>
                <a:spcPts val="400"/>
              </a:spcAft>
              <a:defRPr sz="1600" b="0">
                <a:solidFill>
                  <a:schemeClr val="bg1"/>
                </a:solidFill>
              </a:defRPr>
            </a:lvl7pPr>
            <a:lvl8pPr marL="540000" indent="0">
              <a:lnSpc>
                <a:spcPct val="100000"/>
              </a:lnSpc>
              <a:spcBef>
                <a:spcPts val="200"/>
              </a:spcBef>
              <a:spcAft>
                <a:spcPts val="400"/>
              </a:spcAft>
              <a:defRPr sz="1600" b="0">
                <a:solidFill>
                  <a:schemeClr val="bg1"/>
                </a:solidFill>
              </a:defRPr>
            </a:lvl8pPr>
            <a:lvl9pPr marL="540000" indent="0">
              <a:lnSpc>
                <a:spcPct val="100000"/>
              </a:lnSpc>
              <a:spcBef>
                <a:spcPts val="200"/>
              </a:spcBef>
              <a:spcAft>
                <a:spcPts val="400"/>
              </a:spcAft>
              <a:defRPr sz="1800" b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Add text</a:t>
            </a:r>
          </a:p>
        </p:txBody>
      </p:sp>
    </p:spTree>
    <p:extLst>
      <p:ext uri="{BB962C8B-B14F-4D97-AF65-F5344CB8AC3E}">
        <p14:creationId xmlns:p14="http://schemas.microsoft.com/office/powerpoint/2010/main" val="999705320"/>
      </p:ext>
    </p:extLst>
  </p:cSld>
  <p:clrMapOvr>
    <a:masterClrMapping/>
  </p:clrMapOvr>
  <p:transition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two-column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hteck 10">
            <a:extLst>
              <a:ext uri="{FF2B5EF4-FFF2-40B4-BE49-F238E27FC236}">
                <a16:creationId xmlns:a16="http://schemas.microsoft.com/office/drawing/2014/main" id="{CD1E56A9-7120-0C1B-1DFE-FB4F2B9F90B7}"/>
              </a:ext>
            </a:extLst>
          </p:cNvPr>
          <p:cNvSpPr/>
          <p:nvPr userDrawn="1"/>
        </p:nvSpPr>
        <p:spPr bwMode="gray">
          <a:xfrm>
            <a:off x="10091738" y="0"/>
            <a:ext cx="2100262" cy="685799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CAF5B4F9-46BC-DCE2-AB96-AC7CB76E8AD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371475" y="368299"/>
            <a:ext cx="1728788" cy="1008063"/>
          </a:xfrm>
        </p:spPr>
        <p:txBody>
          <a:bodyPr tIns="252000"/>
          <a:lstStyle>
            <a:lvl1pPr>
              <a:defRPr sz="21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ontent</a:t>
            </a:r>
          </a:p>
        </p:txBody>
      </p:sp>
      <p:sp>
        <p:nvSpPr>
          <p:cNvPr id="3" name="Datumsplatzhalter 3">
            <a:extLst>
              <a:ext uri="{FF2B5EF4-FFF2-40B4-BE49-F238E27FC236}">
                <a16:creationId xmlns:a16="http://schemas.microsoft.com/office/drawing/2014/main" id="{9BE5E7D9-65C6-9061-D956-2409B92BA4B5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gray">
          <a:xfrm>
            <a:off x="0" y="6858000"/>
            <a:ext cx="0" cy="0"/>
          </a:xfrm>
          <a:prstGeom prst="rect">
            <a:avLst/>
          </a:prstGeom>
        </p:spPr>
        <p:txBody>
          <a:bodyPr wrap="none">
            <a:normAutofit/>
          </a:bodyPr>
          <a:lstStyle>
            <a:lvl1pPr>
              <a:defRPr>
                <a:noFill/>
              </a:defRPr>
            </a:lvl1pPr>
          </a:lstStyle>
          <a:p>
            <a:fld id="{8E9A2FE8-9545-45E3-A1DB-1DB626F22262}" type="datetime3">
              <a:rPr lang="de-DE" smtClean="0"/>
              <a:t>01/07/2025</a:t>
            </a:fld>
            <a:endParaRPr lang="en-US" dirty="0"/>
          </a:p>
        </p:txBody>
      </p:sp>
      <p:sp>
        <p:nvSpPr>
          <p:cNvPr id="4" name="Fußzeilenplatzhalter 4">
            <a:extLst>
              <a:ext uri="{FF2B5EF4-FFF2-40B4-BE49-F238E27FC236}">
                <a16:creationId xmlns:a16="http://schemas.microsoft.com/office/drawing/2014/main" id="{6AE2B0FA-73E6-CDD3-8A4F-6051AF035EA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>
          <a:xfrm>
            <a:off x="0" y="6858000"/>
            <a:ext cx="0" cy="0"/>
          </a:xfrm>
        </p:spPr>
        <p:txBody>
          <a:bodyPr wrap="none">
            <a:normAutofit/>
          </a:bodyPr>
          <a:lstStyle>
            <a:lvl1pPr>
              <a:defRPr sz="100">
                <a:noFill/>
              </a:defRPr>
            </a:lvl1pPr>
          </a:lstStyle>
          <a:p>
            <a:r>
              <a:rPr lang="en-US"/>
              <a:t>Name - Title of Presentation</a:t>
            </a:r>
            <a:endParaRPr lang="en-US" dirty="0"/>
          </a:p>
        </p:txBody>
      </p:sp>
      <p:sp>
        <p:nvSpPr>
          <p:cNvPr id="5" name="Foliennummernplatzhalter 5">
            <a:extLst>
              <a:ext uri="{FF2B5EF4-FFF2-40B4-BE49-F238E27FC236}">
                <a16:creationId xmlns:a16="http://schemas.microsoft.com/office/drawing/2014/main" id="{03FB7E51-B660-A4E3-16CE-5C9FC11BF70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>
          <a:xfrm>
            <a:off x="0" y="6858000"/>
            <a:ext cx="0" cy="0"/>
          </a:xfrm>
        </p:spPr>
        <p:txBody>
          <a:bodyPr wrap="none">
            <a:normAutofit/>
          </a:bodyPr>
          <a:lstStyle>
            <a:lvl1pPr>
              <a:defRPr sz="100">
                <a:noFill/>
              </a:defRPr>
            </a:lvl1pPr>
          </a:lstStyle>
          <a:p>
            <a:fld id="{776FC98F-84AD-404B-BCCB-49E092AA6DE0}" type="slidenum">
              <a:rPr lang="en-US" smtClean="0"/>
              <a:pPr/>
              <a:t>‹#›</a:t>
            </a:fld>
            <a:endParaRPr lang="en-US" dirty="0"/>
          </a:p>
        </p:txBody>
      </p:sp>
      <p:grpSp>
        <p:nvGrpSpPr>
          <p:cNvPr id="12" name="Gruppieren 8">
            <a:extLst>
              <a:ext uri="{FF2B5EF4-FFF2-40B4-BE49-F238E27FC236}">
                <a16:creationId xmlns:a16="http://schemas.microsoft.com/office/drawing/2014/main" id="{59902170-140E-DD1B-0ABE-04793B9D1C0F}"/>
              </a:ext>
            </a:extLst>
          </p:cNvPr>
          <p:cNvGrpSpPr>
            <a:grpSpLocks/>
          </p:cNvGrpSpPr>
          <p:nvPr userDrawn="1"/>
        </p:nvGrpSpPr>
        <p:grpSpPr bwMode="gray">
          <a:xfrm>
            <a:off x="10710878" y="368659"/>
            <a:ext cx="861983" cy="309203"/>
            <a:chOff x="11189494" y="381000"/>
            <a:chExt cx="621506" cy="222941"/>
          </a:xfrm>
        </p:grpSpPr>
        <p:sp>
          <p:nvSpPr>
            <p:cNvPr id="13" name="Freihandform: Form 9">
              <a:extLst>
                <a:ext uri="{FF2B5EF4-FFF2-40B4-BE49-F238E27FC236}">
                  <a16:creationId xmlns:a16="http://schemas.microsoft.com/office/drawing/2014/main" id="{C5FE5ADF-144A-6881-EE4F-B970B5A2EAE1}"/>
                </a:ext>
              </a:extLst>
            </p:cNvPr>
            <p:cNvSpPr/>
            <p:nvPr/>
          </p:nvSpPr>
          <p:spPr bwMode="gray">
            <a:xfrm>
              <a:off x="11360511" y="381000"/>
              <a:ext cx="450489" cy="222941"/>
            </a:xfrm>
            <a:custGeom>
              <a:avLst/>
              <a:gdLst>
                <a:gd name="connsiteX0" fmla="*/ 303449 w 450489"/>
                <a:gd name="connsiteY0" fmla="*/ 222 h 222941"/>
                <a:gd name="connsiteX1" fmla="*/ 450489 w 450489"/>
                <a:gd name="connsiteY1" fmla="*/ 222 h 222941"/>
                <a:gd name="connsiteX2" fmla="*/ 450489 w 450489"/>
                <a:gd name="connsiteY2" fmla="*/ 50305 h 222941"/>
                <a:gd name="connsiteX3" fmla="*/ 407489 w 450489"/>
                <a:gd name="connsiteY3" fmla="*/ 50305 h 222941"/>
                <a:gd name="connsiteX4" fmla="*/ 407489 w 450489"/>
                <a:gd name="connsiteY4" fmla="*/ 222941 h 222941"/>
                <a:gd name="connsiteX5" fmla="*/ 346449 w 450489"/>
                <a:gd name="connsiteY5" fmla="*/ 222941 h 222941"/>
                <a:gd name="connsiteX6" fmla="*/ 346449 w 450489"/>
                <a:gd name="connsiteY6" fmla="*/ 50305 h 222941"/>
                <a:gd name="connsiteX7" fmla="*/ 303449 w 450489"/>
                <a:gd name="connsiteY7" fmla="*/ 50305 h 222941"/>
                <a:gd name="connsiteX8" fmla="*/ 227770 w 450489"/>
                <a:gd name="connsiteY8" fmla="*/ 222 h 222941"/>
                <a:gd name="connsiteX9" fmla="*/ 288808 w 450489"/>
                <a:gd name="connsiteY9" fmla="*/ 222 h 222941"/>
                <a:gd name="connsiteX10" fmla="*/ 288808 w 450489"/>
                <a:gd name="connsiteY10" fmla="*/ 222719 h 222941"/>
                <a:gd name="connsiteX11" fmla="*/ 227770 w 450489"/>
                <a:gd name="connsiteY11" fmla="*/ 222719 h 222941"/>
                <a:gd name="connsiteX12" fmla="*/ 52591 w 450489"/>
                <a:gd name="connsiteY12" fmla="*/ 222 h 222941"/>
                <a:gd name="connsiteX13" fmla="*/ 54433 w 450489"/>
                <a:gd name="connsiteY13" fmla="*/ 222 h 222941"/>
                <a:gd name="connsiteX14" fmla="*/ 54211 w 450489"/>
                <a:gd name="connsiteY14" fmla="*/ 222719 h 222941"/>
                <a:gd name="connsiteX15" fmla="*/ 54179 w 450489"/>
                <a:gd name="connsiteY15" fmla="*/ 222719 h 222941"/>
                <a:gd name="connsiteX16" fmla="*/ 0 w 450489"/>
                <a:gd name="connsiteY16" fmla="*/ 6637 h 222941"/>
                <a:gd name="connsiteX17" fmla="*/ 52591 w 450489"/>
                <a:gd name="connsiteY17" fmla="*/ 222 h 222941"/>
                <a:gd name="connsiteX18" fmla="*/ 147041 w 450489"/>
                <a:gd name="connsiteY18" fmla="*/ 0 h 222941"/>
                <a:gd name="connsiteX19" fmla="*/ 217003 w 450489"/>
                <a:gd name="connsiteY19" fmla="*/ 0 h 222941"/>
                <a:gd name="connsiteX20" fmla="*/ 126906 w 450489"/>
                <a:gd name="connsiteY20" fmla="*/ 112042 h 222941"/>
                <a:gd name="connsiteX21" fmla="*/ 217448 w 450489"/>
                <a:gd name="connsiteY21" fmla="*/ 222719 h 222941"/>
                <a:gd name="connsiteX22" fmla="*/ 149581 w 450489"/>
                <a:gd name="connsiteY22" fmla="*/ 222719 h 222941"/>
                <a:gd name="connsiteX23" fmla="*/ 68852 w 450489"/>
                <a:gd name="connsiteY23" fmla="*/ 136051 h 222941"/>
                <a:gd name="connsiteX24" fmla="*/ 68852 w 450489"/>
                <a:gd name="connsiteY24" fmla="*/ 86446 h 2229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450489" h="222941">
                  <a:moveTo>
                    <a:pt x="303449" y="222"/>
                  </a:moveTo>
                  <a:lnTo>
                    <a:pt x="450489" y="222"/>
                  </a:lnTo>
                  <a:lnTo>
                    <a:pt x="450489" y="50305"/>
                  </a:lnTo>
                  <a:lnTo>
                    <a:pt x="407489" y="50305"/>
                  </a:lnTo>
                  <a:lnTo>
                    <a:pt x="407489" y="222941"/>
                  </a:lnTo>
                  <a:lnTo>
                    <a:pt x="346449" y="222941"/>
                  </a:lnTo>
                  <a:lnTo>
                    <a:pt x="346449" y="50305"/>
                  </a:lnTo>
                  <a:lnTo>
                    <a:pt x="303449" y="50305"/>
                  </a:lnTo>
                  <a:close/>
                  <a:moveTo>
                    <a:pt x="227770" y="222"/>
                  </a:moveTo>
                  <a:lnTo>
                    <a:pt x="288808" y="222"/>
                  </a:lnTo>
                  <a:lnTo>
                    <a:pt x="288808" y="222719"/>
                  </a:lnTo>
                  <a:lnTo>
                    <a:pt x="227770" y="222719"/>
                  </a:lnTo>
                  <a:close/>
                  <a:moveTo>
                    <a:pt x="52591" y="222"/>
                  </a:moveTo>
                  <a:lnTo>
                    <a:pt x="54433" y="222"/>
                  </a:lnTo>
                  <a:lnTo>
                    <a:pt x="54211" y="222719"/>
                  </a:lnTo>
                  <a:lnTo>
                    <a:pt x="54179" y="222719"/>
                  </a:lnTo>
                  <a:lnTo>
                    <a:pt x="0" y="6637"/>
                  </a:lnTo>
                  <a:cubicBezTo>
                    <a:pt x="16927" y="2509"/>
                    <a:pt x="34521" y="222"/>
                    <a:pt x="52591" y="222"/>
                  </a:cubicBezTo>
                  <a:close/>
                  <a:moveTo>
                    <a:pt x="147041" y="0"/>
                  </a:moveTo>
                  <a:lnTo>
                    <a:pt x="217003" y="0"/>
                  </a:lnTo>
                  <a:lnTo>
                    <a:pt x="126906" y="112042"/>
                  </a:lnTo>
                  <a:lnTo>
                    <a:pt x="217448" y="222719"/>
                  </a:lnTo>
                  <a:lnTo>
                    <a:pt x="149581" y="222719"/>
                  </a:lnTo>
                  <a:lnTo>
                    <a:pt x="68852" y="136051"/>
                  </a:lnTo>
                  <a:lnTo>
                    <a:pt x="68852" y="86446"/>
                  </a:ln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4" name="Freihandform: Form 10">
              <a:extLst>
                <a:ext uri="{FF2B5EF4-FFF2-40B4-BE49-F238E27FC236}">
                  <a16:creationId xmlns:a16="http://schemas.microsoft.com/office/drawing/2014/main" id="{A0DD601B-ADFA-837B-6B1A-5F76F3B3FCB5}"/>
                </a:ext>
              </a:extLst>
            </p:cNvPr>
            <p:cNvSpPr/>
            <p:nvPr/>
          </p:nvSpPr>
          <p:spPr bwMode="gray">
            <a:xfrm>
              <a:off x="11189494" y="401800"/>
              <a:ext cx="225229" cy="201918"/>
            </a:xfrm>
            <a:custGeom>
              <a:avLst/>
              <a:gdLst>
                <a:gd name="connsiteX0" fmla="*/ 225193 w 225229"/>
                <a:gd name="connsiteY0" fmla="*/ 201842 h 201918"/>
                <a:gd name="connsiteX1" fmla="*/ 225228 w 225229"/>
                <a:gd name="connsiteY1" fmla="*/ 201885 h 201918"/>
                <a:gd name="connsiteX2" fmla="*/ 225228 w 225229"/>
                <a:gd name="connsiteY2" fmla="*/ 201917 h 201918"/>
                <a:gd name="connsiteX3" fmla="*/ 7082 w 225229"/>
                <a:gd name="connsiteY3" fmla="*/ 147485 h 201918"/>
                <a:gd name="connsiteX4" fmla="*/ 225228 w 225229"/>
                <a:gd name="connsiteY4" fmla="*/ 201918 h 201918"/>
                <a:gd name="connsiteX5" fmla="*/ 0 w 225229"/>
                <a:gd name="connsiteY5" fmla="*/ 201918 h 201918"/>
                <a:gd name="connsiteX6" fmla="*/ 7082 w 225229"/>
                <a:gd name="connsiteY6" fmla="*/ 147485 h 201918"/>
                <a:gd name="connsiteX7" fmla="*/ 51226 w 225229"/>
                <a:gd name="connsiteY7" fmla="*/ 60817 h 201918"/>
                <a:gd name="connsiteX8" fmla="*/ 225229 w 225229"/>
                <a:gd name="connsiteY8" fmla="*/ 201918 h 201918"/>
                <a:gd name="connsiteX9" fmla="*/ 21723 w 225229"/>
                <a:gd name="connsiteY9" fmla="*/ 107247 h 201918"/>
                <a:gd name="connsiteX10" fmla="*/ 51226 w 225229"/>
                <a:gd name="connsiteY10" fmla="*/ 60817 h 201918"/>
                <a:gd name="connsiteX11" fmla="*/ 130335 w 225229"/>
                <a:gd name="connsiteY11" fmla="*/ 0 h 201918"/>
                <a:gd name="connsiteX12" fmla="*/ 225193 w 225229"/>
                <a:gd name="connsiteY12" fmla="*/ 201842 h 201918"/>
                <a:gd name="connsiteX13" fmla="*/ 83682 w 225229"/>
                <a:gd name="connsiteY13" fmla="*/ 28805 h 201918"/>
                <a:gd name="connsiteX14" fmla="*/ 130335 w 225229"/>
                <a:gd name="connsiteY14" fmla="*/ 0 h 2019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25229" h="201918">
                  <a:moveTo>
                    <a:pt x="225193" y="201842"/>
                  </a:moveTo>
                  <a:lnTo>
                    <a:pt x="225228" y="201885"/>
                  </a:lnTo>
                  <a:lnTo>
                    <a:pt x="225228" y="201917"/>
                  </a:lnTo>
                  <a:close/>
                  <a:moveTo>
                    <a:pt x="7082" y="147485"/>
                  </a:moveTo>
                  <a:lnTo>
                    <a:pt x="225228" y="201918"/>
                  </a:lnTo>
                  <a:lnTo>
                    <a:pt x="0" y="201918"/>
                  </a:lnTo>
                  <a:cubicBezTo>
                    <a:pt x="222" y="183149"/>
                    <a:pt x="2509" y="164857"/>
                    <a:pt x="7082" y="147485"/>
                  </a:cubicBezTo>
                  <a:close/>
                  <a:moveTo>
                    <a:pt x="51226" y="60817"/>
                  </a:moveTo>
                  <a:lnTo>
                    <a:pt x="225229" y="201918"/>
                  </a:lnTo>
                  <a:lnTo>
                    <a:pt x="21723" y="107247"/>
                  </a:lnTo>
                  <a:cubicBezTo>
                    <a:pt x="29504" y="90543"/>
                    <a:pt x="39571" y="74981"/>
                    <a:pt x="51226" y="60817"/>
                  </a:cubicBezTo>
                  <a:close/>
                  <a:moveTo>
                    <a:pt x="130335" y="0"/>
                  </a:moveTo>
                  <a:lnTo>
                    <a:pt x="225193" y="201842"/>
                  </a:lnTo>
                  <a:lnTo>
                    <a:pt x="83682" y="28805"/>
                  </a:lnTo>
                  <a:cubicBezTo>
                    <a:pt x="97878" y="17372"/>
                    <a:pt x="113408" y="7781"/>
                    <a:pt x="130335" y="0"/>
                  </a:cubicBezTo>
                  <a:close/>
                </a:path>
              </a:pathLst>
            </a:custGeom>
            <a:solidFill>
              <a:schemeClr val="accent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3D1336DF-F71A-7856-88D0-0CE77A6C8D3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black">
          <a:xfrm>
            <a:off x="2316163" y="368300"/>
            <a:ext cx="6588125" cy="4681538"/>
          </a:xfrm>
        </p:spPr>
        <p:txBody>
          <a:bodyPr tIns="252000"/>
          <a:lstStyle>
            <a:lvl1pPr marL="540000" indent="-540000">
              <a:lnSpc>
                <a:spcPct val="85000"/>
              </a:lnSpc>
              <a:spcBef>
                <a:spcPts val="1800"/>
              </a:spcBef>
              <a:spcAft>
                <a:spcPts val="600"/>
              </a:spcAft>
              <a:buClr>
                <a:schemeClr val="bg1"/>
              </a:buClr>
              <a:buFont typeface="+mj-lt"/>
              <a:buAutoNum type="arabicPeriod"/>
              <a:defRPr sz="3500">
                <a:solidFill>
                  <a:schemeClr val="accent1">
                    <a:lumMod val="20000"/>
                    <a:lumOff val="80000"/>
                  </a:schemeClr>
                </a:solidFill>
                <a:latin typeface="+mj-lt"/>
              </a:defRPr>
            </a:lvl1pPr>
            <a:lvl2pPr marL="808038" indent="-268288">
              <a:lnSpc>
                <a:spcPct val="100000"/>
              </a:lnSpc>
              <a:spcBef>
                <a:spcPts val="200"/>
              </a:spcBef>
              <a:spcAft>
                <a:spcPts val="400"/>
              </a:spcAft>
              <a:buClr>
                <a:schemeClr val="bg1"/>
              </a:buClr>
              <a:defRPr sz="1600">
                <a:solidFill>
                  <a:schemeClr val="bg1"/>
                </a:solidFill>
              </a:defRPr>
            </a:lvl2pPr>
            <a:lvl3pPr marL="808038" indent="-268288">
              <a:lnSpc>
                <a:spcPct val="100000"/>
              </a:lnSpc>
              <a:spcBef>
                <a:spcPts val="200"/>
              </a:spcBef>
              <a:spcAft>
                <a:spcPts val="400"/>
              </a:spcAft>
              <a:buClr>
                <a:schemeClr val="bg1"/>
              </a:buClr>
              <a:buFont typeface="+mj-lt"/>
              <a:buAutoNum type="alphaLcPeriod"/>
              <a:defRPr sz="1600">
                <a:solidFill>
                  <a:schemeClr val="bg1"/>
                </a:solidFill>
              </a:defRPr>
            </a:lvl3pPr>
            <a:lvl4pPr marL="540000" indent="0">
              <a:lnSpc>
                <a:spcPct val="100000"/>
              </a:lnSpc>
              <a:spcBef>
                <a:spcPts val="200"/>
              </a:spcBef>
              <a:spcAft>
                <a:spcPts val="400"/>
              </a:spcAft>
              <a:buNone/>
              <a:defRPr sz="1600" b="0">
                <a:solidFill>
                  <a:schemeClr val="bg1"/>
                </a:solidFill>
              </a:defRPr>
            </a:lvl4pPr>
            <a:lvl5pPr marL="540000" indent="0">
              <a:lnSpc>
                <a:spcPct val="100000"/>
              </a:lnSpc>
              <a:spcBef>
                <a:spcPts val="20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b="0">
                <a:solidFill>
                  <a:schemeClr val="bg1"/>
                </a:solidFill>
              </a:defRPr>
            </a:lvl5pPr>
            <a:lvl6pPr marL="540000" indent="0">
              <a:lnSpc>
                <a:spcPct val="100000"/>
              </a:lnSpc>
              <a:spcBef>
                <a:spcPts val="200"/>
              </a:spcBef>
              <a:spcAft>
                <a:spcPts val="400"/>
              </a:spcAft>
              <a:defRPr sz="1600" b="0">
                <a:solidFill>
                  <a:schemeClr val="bg1"/>
                </a:solidFill>
              </a:defRPr>
            </a:lvl6pPr>
            <a:lvl7pPr marL="540000" indent="0">
              <a:lnSpc>
                <a:spcPct val="100000"/>
              </a:lnSpc>
              <a:spcBef>
                <a:spcPts val="200"/>
              </a:spcBef>
              <a:spcAft>
                <a:spcPts val="400"/>
              </a:spcAft>
              <a:defRPr sz="1600" b="0">
                <a:solidFill>
                  <a:schemeClr val="bg1"/>
                </a:solidFill>
              </a:defRPr>
            </a:lvl7pPr>
            <a:lvl8pPr marL="540000" indent="0">
              <a:lnSpc>
                <a:spcPct val="100000"/>
              </a:lnSpc>
              <a:spcBef>
                <a:spcPts val="200"/>
              </a:spcBef>
              <a:spcAft>
                <a:spcPts val="400"/>
              </a:spcAft>
              <a:defRPr sz="1600" b="0">
                <a:solidFill>
                  <a:schemeClr val="bg1"/>
                </a:solidFill>
              </a:defRPr>
            </a:lvl8pPr>
            <a:lvl9pPr marL="540000" indent="0">
              <a:lnSpc>
                <a:spcPct val="100000"/>
              </a:lnSpc>
              <a:spcBef>
                <a:spcPts val="200"/>
              </a:spcBef>
              <a:spcAft>
                <a:spcPts val="400"/>
              </a:spcAft>
              <a:defRPr sz="1800" b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Add text</a:t>
            </a:r>
          </a:p>
        </p:txBody>
      </p:sp>
    </p:spTree>
    <p:extLst>
      <p:ext uri="{BB962C8B-B14F-4D97-AF65-F5344CB8AC3E}">
        <p14:creationId xmlns:p14="http://schemas.microsoft.com/office/powerpoint/2010/main" val="4157396200"/>
      </p:ext>
    </p:extLst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50" Type="http://schemas.openxmlformats.org/officeDocument/2006/relationships/slideLayout" Target="../slideLayouts/slideLayout50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8" Type="http://schemas.openxmlformats.org/officeDocument/2006/relationships/slideLayout" Target="../slideLayouts/slideLayout8.xml"/><Relationship Id="rId51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54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A6C52DD2-FC87-93DF-CB35-5CE39535EA9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52"/>
            </p:custDataLst>
            <p:extLst>
              <p:ext uri="{D42A27DB-BD31-4B8C-83A1-F6EECF244321}">
                <p14:modId xmlns:p14="http://schemas.microsoft.com/office/powerpoint/2010/main" val="598115399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3" imgW="7772400" imgH="10058400" progId="TCLayout.ActiveDocument.1">
                  <p:embed/>
                </p:oleObj>
              </mc:Choice>
              <mc:Fallback>
                <p:oleObj name="think-cell Slide" r:id="rId5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D2AC8670-2373-ACE7-1748-0B4F79D1DCA9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371475" y="368907"/>
            <a:ext cx="11449050" cy="1007455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lvl="0"/>
            <a:r>
              <a:rPr lang="en-US" dirty="0"/>
              <a:t>Add Title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4AF615B8-B68C-BFF2-C357-D019188813E1}"/>
              </a:ext>
            </a:extLst>
          </p:cNvPr>
          <p:cNvSpPr>
            <a:spLocks noGrp="1"/>
          </p:cNvSpPr>
          <p:nvPr>
            <p:ph type="body" idx="1"/>
          </p:nvPr>
        </p:nvSpPr>
        <p:spPr bwMode="gray">
          <a:xfrm>
            <a:off x="371475" y="1592262"/>
            <a:ext cx="11449050" cy="46815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6"/>
            <a:r>
              <a:rPr lang="en-US" dirty="0"/>
              <a:t>Eighth level</a:t>
            </a:r>
          </a:p>
          <a:p>
            <a:pPr lvl="7"/>
            <a:r>
              <a:rPr lang="en-US" dirty="0"/>
              <a:t>Ninth level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A10645A-C6A4-0669-9312-4601E18860C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2100263" y="6273800"/>
            <a:ext cx="5832475" cy="584200"/>
          </a:xfrm>
          <a:prstGeom prst="rect">
            <a:avLst/>
          </a:prstGeom>
        </p:spPr>
        <p:txBody>
          <a:bodyPr vert="horz" lIns="0" tIns="36000" rIns="0" bIns="0" rtlCol="0" anchor="ctr">
            <a:noAutofit/>
          </a:bodyPr>
          <a:lstStyle>
            <a:lvl1pPr algn="l">
              <a:defRPr sz="1100">
                <a:solidFill>
                  <a:schemeClr val="bg2"/>
                </a:solidFill>
              </a:defRPr>
            </a:lvl1pPr>
          </a:lstStyle>
          <a:p>
            <a:r>
              <a:rPr lang="en-US" noProof="1"/>
              <a:t>Pascal Reeck – B meson mixing at NNLO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215839F2-D397-6E48-3A61-2C5024B4E3C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371475" y="6273800"/>
            <a:ext cx="575953" cy="584200"/>
          </a:xfrm>
          <a:prstGeom prst="rect">
            <a:avLst/>
          </a:prstGeom>
        </p:spPr>
        <p:txBody>
          <a:bodyPr vert="horz" lIns="0" tIns="36000" rIns="0" bIns="0" rtlCol="0" anchor="ctr">
            <a:noAutofit/>
          </a:bodyPr>
          <a:lstStyle>
            <a:lvl1pPr algn="l">
              <a:defRPr sz="1100">
                <a:solidFill>
                  <a:schemeClr val="bg2"/>
                </a:solidFill>
              </a:defRPr>
            </a:lvl1pPr>
          </a:lstStyle>
          <a:p>
            <a:fld id="{776FC98F-84AD-404B-BCCB-49E092AA6DE0}" type="slidenum">
              <a:rPr lang="en-US" noProof="1" smtClean="0"/>
              <a:pPr/>
              <a:t>‹#›</a:t>
            </a:fld>
            <a:endParaRPr lang="en-US" noProof="1"/>
          </a:p>
        </p:txBody>
      </p:sp>
      <p:grpSp>
        <p:nvGrpSpPr>
          <p:cNvPr id="35" name="Gruppieren 34">
            <a:extLst>
              <a:ext uri="{FF2B5EF4-FFF2-40B4-BE49-F238E27FC236}">
                <a16:creationId xmlns:a16="http://schemas.microsoft.com/office/drawing/2014/main" id="{890F709B-A2DC-57A5-E7E6-8518482A8044}"/>
              </a:ext>
            </a:extLst>
          </p:cNvPr>
          <p:cNvGrpSpPr>
            <a:grpSpLocks/>
          </p:cNvGrpSpPr>
          <p:nvPr userDrawn="1"/>
        </p:nvGrpSpPr>
        <p:grpSpPr bwMode="gray">
          <a:xfrm>
            <a:off x="11140463" y="6437457"/>
            <a:ext cx="689586" cy="247362"/>
            <a:chOff x="11189494" y="381000"/>
            <a:chExt cx="621506" cy="222941"/>
          </a:xfrm>
        </p:grpSpPr>
        <p:sp>
          <p:nvSpPr>
            <p:cNvPr id="36" name="Freihandform: Form 35">
              <a:extLst>
                <a:ext uri="{FF2B5EF4-FFF2-40B4-BE49-F238E27FC236}">
                  <a16:creationId xmlns:a16="http://schemas.microsoft.com/office/drawing/2014/main" id="{5EBFDC3C-E9B5-878F-6873-AAF6A36E7689}"/>
                </a:ext>
              </a:extLst>
            </p:cNvPr>
            <p:cNvSpPr/>
            <p:nvPr/>
          </p:nvSpPr>
          <p:spPr bwMode="gray">
            <a:xfrm>
              <a:off x="11360511" y="381000"/>
              <a:ext cx="450489" cy="222941"/>
            </a:xfrm>
            <a:custGeom>
              <a:avLst/>
              <a:gdLst>
                <a:gd name="connsiteX0" fmla="*/ 303449 w 450489"/>
                <a:gd name="connsiteY0" fmla="*/ 222 h 222941"/>
                <a:gd name="connsiteX1" fmla="*/ 450489 w 450489"/>
                <a:gd name="connsiteY1" fmla="*/ 222 h 222941"/>
                <a:gd name="connsiteX2" fmla="*/ 450489 w 450489"/>
                <a:gd name="connsiteY2" fmla="*/ 50305 h 222941"/>
                <a:gd name="connsiteX3" fmla="*/ 407489 w 450489"/>
                <a:gd name="connsiteY3" fmla="*/ 50305 h 222941"/>
                <a:gd name="connsiteX4" fmla="*/ 407489 w 450489"/>
                <a:gd name="connsiteY4" fmla="*/ 222941 h 222941"/>
                <a:gd name="connsiteX5" fmla="*/ 346449 w 450489"/>
                <a:gd name="connsiteY5" fmla="*/ 222941 h 222941"/>
                <a:gd name="connsiteX6" fmla="*/ 346449 w 450489"/>
                <a:gd name="connsiteY6" fmla="*/ 50305 h 222941"/>
                <a:gd name="connsiteX7" fmla="*/ 303449 w 450489"/>
                <a:gd name="connsiteY7" fmla="*/ 50305 h 222941"/>
                <a:gd name="connsiteX8" fmla="*/ 227770 w 450489"/>
                <a:gd name="connsiteY8" fmla="*/ 222 h 222941"/>
                <a:gd name="connsiteX9" fmla="*/ 288808 w 450489"/>
                <a:gd name="connsiteY9" fmla="*/ 222 h 222941"/>
                <a:gd name="connsiteX10" fmla="*/ 288808 w 450489"/>
                <a:gd name="connsiteY10" fmla="*/ 222719 h 222941"/>
                <a:gd name="connsiteX11" fmla="*/ 227770 w 450489"/>
                <a:gd name="connsiteY11" fmla="*/ 222719 h 222941"/>
                <a:gd name="connsiteX12" fmla="*/ 52591 w 450489"/>
                <a:gd name="connsiteY12" fmla="*/ 222 h 222941"/>
                <a:gd name="connsiteX13" fmla="*/ 54433 w 450489"/>
                <a:gd name="connsiteY13" fmla="*/ 222 h 222941"/>
                <a:gd name="connsiteX14" fmla="*/ 54211 w 450489"/>
                <a:gd name="connsiteY14" fmla="*/ 222719 h 222941"/>
                <a:gd name="connsiteX15" fmla="*/ 54179 w 450489"/>
                <a:gd name="connsiteY15" fmla="*/ 222719 h 222941"/>
                <a:gd name="connsiteX16" fmla="*/ 0 w 450489"/>
                <a:gd name="connsiteY16" fmla="*/ 6637 h 222941"/>
                <a:gd name="connsiteX17" fmla="*/ 52591 w 450489"/>
                <a:gd name="connsiteY17" fmla="*/ 222 h 222941"/>
                <a:gd name="connsiteX18" fmla="*/ 147041 w 450489"/>
                <a:gd name="connsiteY18" fmla="*/ 0 h 222941"/>
                <a:gd name="connsiteX19" fmla="*/ 217003 w 450489"/>
                <a:gd name="connsiteY19" fmla="*/ 0 h 222941"/>
                <a:gd name="connsiteX20" fmla="*/ 126906 w 450489"/>
                <a:gd name="connsiteY20" fmla="*/ 112042 h 222941"/>
                <a:gd name="connsiteX21" fmla="*/ 217448 w 450489"/>
                <a:gd name="connsiteY21" fmla="*/ 222719 h 222941"/>
                <a:gd name="connsiteX22" fmla="*/ 149581 w 450489"/>
                <a:gd name="connsiteY22" fmla="*/ 222719 h 222941"/>
                <a:gd name="connsiteX23" fmla="*/ 68852 w 450489"/>
                <a:gd name="connsiteY23" fmla="*/ 136051 h 222941"/>
                <a:gd name="connsiteX24" fmla="*/ 68852 w 450489"/>
                <a:gd name="connsiteY24" fmla="*/ 86446 h 2229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450489" h="222941">
                  <a:moveTo>
                    <a:pt x="303449" y="222"/>
                  </a:moveTo>
                  <a:lnTo>
                    <a:pt x="450489" y="222"/>
                  </a:lnTo>
                  <a:lnTo>
                    <a:pt x="450489" y="50305"/>
                  </a:lnTo>
                  <a:lnTo>
                    <a:pt x="407489" y="50305"/>
                  </a:lnTo>
                  <a:lnTo>
                    <a:pt x="407489" y="222941"/>
                  </a:lnTo>
                  <a:lnTo>
                    <a:pt x="346449" y="222941"/>
                  </a:lnTo>
                  <a:lnTo>
                    <a:pt x="346449" y="50305"/>
                  </a:lnTo>
                  <a:lnTo>
                    <a:pt x="303449" y="50305"/>
                  </a:lnTo>
                  <a:close/>
                  <a:moveTo>
                    <a:pt x="227770" y="222"/>
                  </a:moveTo>
                  <a:lnTo>
                    <a:pt x="288808" y="222"/>
                  </a:lnTo>
                  <a:lnTo>
                    <a:pt x="288808" y="222719"/>
                  </a:lnTo>
                  <a:lnTo>
                    <a:pt x="227770" y="222719"/>
                  </a:lnTo>
                  <a:close/>
                  <a:moveTo>
                    <a:pt x="52591" y="222"/>
                  </a:moveTo>
                  <a:lnTo>
                    <a:pt x="54433" y="222"/>
                  </a:lnTo>
                  <a:lnTo>
                    <a:pt x="54211" y="222719"/>
                  </a:lnTo>
                  <a:lnTo>
                    <a:pt x="54179" y="222719"/>
                  </a:lnTo>
                  <a:lnTo>
                    <a:pt x="0" y="6637"/>
                  </a:lnTo>
                  <a:cubicBezTo>
                    <a:pt x="16927" y="2509"/>
                    <a:pt x="34521" y="222"/>
                    <a:pt x="52591" y="222"/>
                  </a:cubicBezTo>
                  <a:close/>
                  <a:moveTo>
                    <a:pt x="147041" y="0"/>
                  </a:moveTo>
                  <a:lnTo>
                    <a:pt x="217003" y="0"/>
                  </a:lnTo>
                  <a:lnTo>
                    <a:pt x="126906" y="112042"/>
                  </a:lnTo>
                  <a:lnTo>
                    <a:pt x="217448" y="222719"/>
                  </a:lnTo>
                  <a:lnTo>
                    <a:pt x="149581" y="222719"/>
                  </a:lnTo>
                  <a:lnTo>
                    <a:pt x="68852" y="136051"/>
                  </a:lnTo>
                  <a:lnTo>
                    <a:pt x="68852" y="86446"/>
                  </a:ln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37" name="Freihandform: Form 36">
              <a:extLst>
                <a:ext uri="{FF2B5EF4-FFF2-40B4-BE49-F238E27FC236}">
                  <a16:creationId xmlns:a16="http://schemas.microsoft.com/office/drawing/2014/main" id="{6035EDC6-B9F4-55AD-87D2-DD2E60B1592D}"/>
                </a:ext>
              </a:extLst>
            </p:cNvPr>
            <p:cNvSpPr/>
            <p:nvPr/>
          </p:nvSpPr>
          <p:spPr bwMode="gray">
            <a:xfrm>
              <a:off x="11189494" y="401800"/>
              <a:ext cx="225229" cy="201918"/>
            </a:xfrm>
            <a:custGeom>
              <a:avLst/>
              <a:gdLst>
                <a:gd name="connsiteX0" fmla="*/ 225193 w 225229"/>
                <a:gd name="connsiteY0" fmla="*/ 201842 h 201918"/>
                <a:gd name="connsiteX1" fmla="*/ 225228 w 225229"/>
                <a:gd name="connsiteY1" fmla="*/ 201885 h 201918"/>
                <a:gd name="connsiteX2" fmla="*/ 225228 w 225229"/>
                <a:gd name="connsiteY2" fmla="*/ 201917 h 201918"/>
                <a:gd name="connsiteX3" fmla="*/ 7082 w 225229"/>
                <a:gd name="connsiteY3" fmla="*/ 147485 h 201918"/>
                <a:gd name="connsiteX4" fmla="*/ 225228 w 225229"/>
                <a:gd name="connsiteY4" fmla="*/ 201918 h 201918"/>
                <a:gd name="connsiteX5" fmla="*/ 0 w 225229"/>
                <a:gd name="connsiteY5" fmla="*/ 201918 h 201918"/>
                <a:gd name="connsiteX6" fmla="*/ 7082 w 225229"/>
                <a:gd name="connsiteY6" fmla="*/ 147485 h 201918"/>
                <a:gd name="connsiteX7" fmla="*/ 51226 w 225229"/>
                <a:gd name="connsiteY7" fmla="*/ 60817 h 201918"/>
                <a:gd name="connsiteX8" fmla="*/ 225229 w 225229"/>
                <a:gd name="connsiteY8" fmla="*/ 201918 h 201918"/>
                <a:gd name="connsiteX9" fmla="*/ 21723 w 225229"/>
                <a:gd name="connsiteY9" fmla="*/ 107247 h 201918"/>
                <a:gd name="connsiteX10" fmla="*/ 51226 w 225229"/>
                <a:gd name="connsiteY10" fmla="*/ 60817 h 201918"/>
                <a:gd name="connsiteX11" fmla="*/ 130335 w 225229"/>
                <a:gd name="connsiteY11" fmla="*/ 0 h 201918"/>
                <a:gd name="connsiteX12" fmla="*/ 225193 w 225229"/>
                <a:gd name="connsiteY12" fmla="*/ 201842 h 201918"/>
                <a:gd name="connsiteX13" fmla="*/ 83682 w 225229"/>
                <a:gd name="connsiteY13" fmla="*/ 28805 h 201918"/>
                <a:gd name="connsiteX14" fmla="*/ 130335 w 225229"/>
                <a:gd name="connsiteY14" fmla="*/ 0 h 2019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25229" h="201918">
                  <a:moveTo>
                    <a:pt x="225193" y="201842"/>
                  </a:moveTo>
                  <a:lnTo>
                    <a:pt x="225228" y="201885"/>
                  </a:lnTo>
                  <a:lnTo>
                    <a:pt x="225228" y="201917"/>
                  </a:lnTo>
                  <a:close/>
                  <a:moveTo>
                    <a:pt x="7082" y="147485"/>
                  </a:moveTo>
                  <a:lnTo>
                    <a:pt x="225228" y="201918"/>
                  </a:lnTo>
                  <a:lnTo>
                    <a:pt x="0" y="201918"/>
                  </a:lnTo>
                  <a:cubicBezTo>
                    <a:pt x="222" y="183149"/>
                    <a:pt x="2509" y="164857"/>
                    <a:pt x="7082" y="147485"/>
                  </a:cubicBezTo>
                  <a:close/>
                  <a:moveTo>
                    <a:pt x="51226" y="60817"/>
                  </a:moveTo>
                  <a:lnTo>
                    <a:pt x="225229" y="201918"/>
                  </a:lnTo>
                  <a:lnTo>
                    <a:pt x="21723" y="107247"/>
                  </a:lnTo>
                  <a:cubicBezTo>
                    <a:pt x="29504" y="90543"/>
                    <a:pt x="39571" y="74981"/>
                    <a:pt x="51226" y="60817"/>
                  </a:cubicBezTo>
                  <a:close/>
                  <a:moveTo>
                    <a:pt x="130335" y="0"/>
                  </a:moveTo>
                  <a:lnTo>
                    <a:pt x="225193" y="201842"/>
                  </a:lnTo>
                  <a:lnTo>
                    <a:pt x="83682" y="28805"/>
                  </a:lnTo>
                  <a:cubicBezTo>
                    <a:pt x="97878" y="17372"/>
                    <a:pt x="113408" y="7781"/>
                    <a:pt x="130335" y="0"/>
                  </a:cubicBezTo>
                  <a:close/>
                </a:path>
              </a:pathLst>
            </a:custGeom>
            <a:solidFill>
              <a:schemeClr val="accent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DA50F823-CF9B-29C2-AD0C-5871331358C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47428" y="6273800"/>
            <a:ext cx="1152835" cy="584200"/>
          </a:xfrm>
          <a:prstGeom prst="rect">
            <a:avLst/>
          </a:prstGeom>
        </p:spPr>
        <p:txBody>
          <a:bodyPr vert="horz" lIns="0" tIns="36000" rIns="0" bIns="0" rtlCol="0" anchor="ctr"/>
          <a:lstStyle>
            <a:lvl1pPr algn="l">
              <a:defRPr sz="1100">
                <a:solidFill>
                  <a:schemeClr val="bg2"/>
                </a:solidFill>
              </a:defRPr>
            </a:lvl1pPr>
          </a:lstStyle>
          <a:p>
            <a:r>
              <a:rPr lang="de-DE" noProof="1"/>
              <a:t>10/03/2025</a:t>
            </a:r>
            <a:endParaRPr lang="en-US" noProof="1"/>
          </a:p>
        </p:txBody>
      </p:sp>
    </p:spTree>
    <p:extLst>
      <p:ext uri="{BB962C8B-B14F-4D97-AF65-F5344CB8AC3E}">
        <p14:creationId xmlns:p14="http://schemas.microsoft.com/office/powerpoint/2010/main" val="12345219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3" r:id="rId1"/>
    <p:sldLayoutId id="2147483649" r:id="rId2"/>
    <p:sldLayoutId id="2147483650" r:id="rId3"/>
    <p:sldLayoutId id="2147483651" r:id="rId4"/>
    <p:sldLayoutId id="2147483652" r:id="rId5"/>
    <p:sldLayoutId id="2147483694" r:id="rId6"/>
    <p:sldLayoutId id="2147483653" r:id="rId7"/>
    <p:sldLayoutId id="2147483654" r:id="rId8"/>
    <p:sldLayoutId id="2147483655" r:id="rId9"/>
    <p:sldLayoutId id="2147483656" r:id="rId10"/>
    <p:sldLayoutId id="2147483695" r:id="rId11"/>
    <p:sldLayoutId id="2147483657" r:id="rId12"/>
    <p:sldLayoutId id="2147483696" r:id="rId13"/>
    <p:sldLayoutId id="2147483701" r:id="rId14"/>
    <p:sldLayoutId id="2147483658" r:id="rId15"/>
    <p:sldLayoutId id="2147483659" r:id="rId16"/>
    <p:sldLayoutId id="2147483660" r:id="rId17"/>
    <p:sldLayoutId id="2147483661" r:id="rId18"/>
    <p:sldLayoutId id="2147483697" r:id="rId19"/>
    <p:sldLayoutId id="2147483662" r:id="rId20"/>
    <p:sldLayoutId id="2147483663" r:id="rId21"/>
    <p:sldLayoutId id="2147483664" r:id="rId22"/>
    <p:sldLayoutId id="2147483665" r:id="rId23"/>
    <p:sldLayoutId id="2147483666" r:id="rId24"/>
    <p:sldLayoutId id="2147483667" r:id="rId25"/>
    <p:sldLayoutId id="2147483668" r:id="rId26"/>
    <p:sldLayoutId id="2147483669" r:id="rId27"/>
    <p:sldLayoutId id="2147483670" r:id="rId28"/>
    <p:sldLayoutId id="2147483671" r:id="rId29"/>
    <p:sldLayoutId id="2147483672" r:id="rId30"/>
    <p:sldLayoutId id="2147483673" r:id="rId31"/>
    <p:sldLayoutId id="2147483674" r:id="rId32"/>
    <p:sldLayoutId id="2147483675" r:id="rId33"/>
    <p:sldLayoutId id="2147483676" r:id="rId34"/>
    <p:sldLayoutId id="2147483677" r:id="rId35"/>
    <p:sldLayoutId id="2147483678" r:id="rId36"/>
    <p:sldLayoutId id="2147483679" r:id="rId37"/>
    <p:sldLayoutId id="2147483680" r:id="rId38"/>
    <p:sldLayoutId id="2147483681" r:id="rId39"/>
    <p:sldLayoutId id="2147483682" r:id="rId40"/>
    <p:sldLayoutId id="2147483683" r:id="rId41"/>
    <p:sldLayoutId id="2147483684" r:id="rId42"/>
    <p:sldLayoutId id="2147483685" r:id="rId43"/>
    <p:sldLayoutId id="2147483686" r:id="rId44"/>
    <p:sldLayoutId id="2147483687" r:id="rId45"/>
    <p:sldLayoutId id="2147483688" r:id="rId46"/>
    <p:sldLayoutId id="2147483689" r:id="rId47"/>
    <p:sldLayoutId id="2147483690" r:id="rId48"/>
    <p:sldLayoutId id="2147483691" r:id="rId49"/>
    <p:sldLayoutId id="2147483692" r:id="rId50"/>
  </p:sldLayoutIdLst>
  <p:transition>
    <p:fade/>
  </p:transition>
  <p:hf hdr="0"/>
  <p:txStyles>
    <p:titleStyle>
      <a:lvl1pPr algn="l" defTabSz="914400" rtl="0" eaLnBrk="1" latinLnBrk="0" hangingPunct="1">
        <a:lnSpc>
          <a:spcPct val="80000"/>
        </a:lnSpc>
        <a:spcBef>
          <a:spcPct val="0"/>
        </a:spcBef>
        <a:buNone/>
        <a:defRPr sz="35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270000" indent="-27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270000" indent="-27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Font typeface="+mj-lt"/>
        <a:buAutoNum type="arabicPeriod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540000" indent="-2700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accent1"/>
        </a:buClr>
        <a:buFont typeface="Symbol" panose="05050102010706020507" pitchFamily="18" charset="2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540000" indent="-2700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accent1"/>
        </a:buClr>
        <a:buFont typeface="+mj-lt"/>
        <a:buAutoNum type="alphaLcPeriod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0" indent="0" algn="l" defTabSz="914400" rtl="0" eaLnBrk="1" latinLnBrk="0" hangingPunct="1">
        <a:lnSpc>
          <a:spcPct val="85000"/>
        </a:lnSpc>
        <a:spcBef>
          <a:spcPts val="1200"/>
        </a:spcBef>
        <a:spcAft>
          <a:spcPts val="600"/>
        </a:spcAft>
        <a:buFont typeface="Arial" panose="020B0604020202020204" pitchFamily="34" charset="0"/>
        <a:buNone/>
        <a:defRPr sz="2000" b="1" kern="1200">
          <a:solidFill>
            <a:schemeClr val="accent1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Arial" panose="020B0604020202020204" pitchFamily="34" charset="0"/>
        <a:buNone/>
        <a:defRPr sz="1100" kern="120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Arial" panose="020B0604020202020204" pitchFamily="34" charset="0"/>
        <a:buNone/>
        <a:defRPr sz="800" kern="120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Arial" panose="020B0604020202020204" pitchFamily="34" charset="0"/>
        <a:buNone/>
        <a:defRPr sz="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32" userDrawn="1">
          <p15:clr>
            <a:srgbClr val="F26B43"/>
          </p15:clr>
        </p15:guide>
        <p15:guide id="2" pos="234" userDrawn="1">
          <p15:clr>
            <a:srgbClr val="F26B43"/>
          </p15:clr>
        </p15:guide>
        <p15:guide id="3" pos="7446" userDrawn="1">
          <p15:clr>
            <a:srgbClr val="F26B43"/>
          </p15:clr>
        </p15:guide>
        <p15:guide id="4" pos="1323" userDrawn="1">
          <p15:clr>
            <a:srgbClr val="F26B43"/>
          </p15:clr>
        </p15:guide>
        <p15:guide id="5" pos="1459" userDrawn="1">
          <p15:clr>
            <a:srgbClr val="F26B43"/>
          </p15:clr>
        </p15:guide>
        <p15:guide id="6" pos="2547" userDrawn="1">
          <p15:clr>
            <a:srgbClr val="F26B43"/>
          </p15:clr>
        </p15:guide>
        <p15:guide id="7" pos="2683" userDrawn="1">
          <p15:clr>
            <a:srgbClr val="F26B43"/>
          </p15:clr>
        </p15:guide>
        <p15:guide id="8" pos="3772" userDrawn="1">
          <p15:clr>
            <a:srgbClr val="F26B43"/>
          </p15:clr>
        </p15:guide>
        <p15:guide id="9" pos="3908" userDrawn="1">
          <p15:clr>
            <a:srgbClr val="F26B43"/>
          </p15:clr>
        </p15:guide>
        <p15:guide id="10" pos="4997" userDrawn="1">
          <p15:clr>
            <a:srgbClr val="F26B43"/>
          </p15:clr>
        </p15:guide>
        <p15:guide id="11" pos="5133" userDrawn="1">
          <p15:clr>
            <a:srgbClr val="F26B43"/>
          </p15:clr>
        </p15:guide>
        <p15:guide id="12" pos="6221" userDrawn="1">
          <p15:clr>
            <a:srgbClr val="F26B43"/>
          </p15:clr>
        </p15:guide>
        <p15:guide id="13" pos="6357" userDrawn="1">
          <p15:clr>
            <a:srgbClr val="F26B43"/>
          </p15:clr>
        </p15:guide>
        <p15:guide id="14" pos="1935" userDrawn="1">
          <p15:clr>
            <a:srgbClr val="5ACBF0"/>
          </p15:clr>
        </p15:guide>
        <p15:guide id="15" pos="2071" userDrawn="1">
          <p15:clr>
            <a:srgbClr val="5ACBF0"/>
          </p15:clr>
        </p15:guide>
        <p15:guide id="16" pos="5609" userDrawn="1">
          <p15:clr>
            <a:srgbClr val="5ACBF0"/>
          </p15:clr>
        </p15:guide>
        <p15:guide id="17" pos="5745" userDrawn="1">
          <p15:clr>
            <a:srgbClr val="5ACBF0"/>
          </p15:clr>
        </p15:guide>
        <p15:guide id="18" orient="horz" pos="867" userDrawn="1">
          <p15:clr>
            <a:srgbClr val="F26B43"/>
          </p15:clr>
        </p15:guide>
        <p15:guide id="19" orient="horz" pos="1003" userDrawn="1">
          <p15:clr>
            <a:srgbClr val="F26B43"/>
          </p15:clr>
        </p15:guide>
        <p15:guide id="20" orient="horz" pos="1638" userDrawn="1">
          <p15:clr>
            <a:srgbClr val="F26B43"/>
          </p15:clr>
        </p15:guide>
        <p15:guide id="21" orient="horz" pos="1774" userDrawn="1">
          <p15:clr>
            <a:srgbClr val="F26B43"/>
          </p15:clr>
        </p15:guide>
        <p15:guide id="22" orient="horz" pos="2409" userDrawn="1">
          <p15:clr>
            <a:srgbClr val="F26B43"/>
          </p15:clr>
        </p15:guide>
        <p15:guide id="23" orient="horz" pos="2546" userDrawn="1">
          <p15:clr>
            <a:srgbClr val="F26B43"/>
          </p15:clr>
        </p15:guide>
        <p15:guide id="24" orient="horz" pos="3181" userDrawn="1">
          <p15:clr>
            <a:srgbClr val="F26B43"/>
          </p15:clr>
        </p15:guide>
        <p15:guide id="25" orient="horz" pos="3317" userDrawn="1">
          <p15:clr>
            <a:srgbClr val="F26B43"/>
          </p15:clr>
        </p15:guide>
        <p15:guide id="26" orient="horz" pos="3952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3.xml"/><Relationship Id="rId6" Type="http://schemas.openxmlformats.org/officeDocument/2006/relationships/image" Target="../media/image4.png"/><Relationship Id="rId5" Type="http://schemas.openxmlformats.org/officeDocument/2006/relationships/image" Target="../media/image3.png"/><Relationship Id="rId4" Type="http://schemas.openxmlformats.org/officeDocument/2006/relationships/image" Target="../media/image2.emf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8.xml"/><Relationship Id="rId4" Type="http://schemas.openxmlformats.org/officeDocument/2006/relationships/image" Target="../media/image36.emf"/></Relationships>
</file>

<file path=ppt/slides/_rels/slide11.xml.rels><?xml version="1.0" encoding="UTF-8" standalone="yes"?>
<Relationships xmlns="http://schemas.openxmlformats.org/package/2006/relationships"><Relationship Id="rId13" Type="http://schemas.openxmlformats.org/officeDocument/2006/relationships/image" Target="../media/image420.png"/><Relationship Id="rId3" Type="http://schemas.openxmlformats.org/officeDocument/2006/relationships/notesSlide" Target="../notesSlides/notesSlide7.xml"/><Relationship Id="rId7" Type="http://schemas.openxmlformats.org/officeDocument/2006/relationships/image" Target="../media/image42.png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39.xml"/><Relationship Id="rId6" Type="http://schemas.openxmlformats.org/officeDocument/2006/relationships/image" Target="../media/image41.png"/><Relationship Id="rId5" Type="http://schemas.openxmlformats.org/officeDocument/2006/relationships/image" Target="../media/image37.emf"/><Relationship Id="rId4" Type="http://schemas.openxmlformats.org/officeDocument/2006/relationships/oleObject" Target="../embeddings/oleObject12.bin"/><Relationship Id="rId14" Type="http://schemas.openxmlformats.org/officeDocument/2006/relationships/image" Target="../media/image19.png"/></Relationships>
</file>

<file path=ppt/slides/_rels/slide12.xml.rels><?xml version="1.0" encoding="UTF-8" standalone="yes"?>
<Relationships xmlns="http://schemas.openxmlformats.org/package/2006/relationships"><Relationship Id="rId13" Type="http://schemas.openxmlformats.org/officeDocument/2006/relationships/tags" Target="../tags/tag52.xml"/><Relationship Id="rId18" Type="http://schemas.openxmlformats.org/officeDocument/2006/relationships/tags" Target="../tags/tag57.xml"/><Relationship Id="rId26" Type="http://schemas.openxmlformats.org/officeDocument/2006/relationships/image" Target="../media/image40.png"/><Relationship Id="rId3" Type="http://schemas.openxmlformats.org/officeDocument/2006/relationships/tags" Target="../tags/tag42.xml"/><Relationship Id="rId21" Type="http://schemas.openxmlformats.org/officeDocument/2006/relationships/slideLayout" Target="../slideLayouts/slideLayout40.xml"/><Relationship Id="rId34" Type="http://schemas.openxmlformats.org/officeDocument/2006/relationships/image" Target="../media/image48.png"/><Relationship Id="rId7" Type="http://schemas.openxmlformats.org/officeDocument/2006/relationships/tags" Target="../tags/tag46.xml"/><Relationship Id="rId12" Type="http://schemas.openxmlformats.org/officeDocument/2006/relationships/tags" Target="../tags/tag51.xml"/><Relationship Id="rId17" Type="http://schemas.openxmlformats.org/officeDocument/2006/relationships/tags" Target="../tags/tag56.xml"/><Relationship Id="rId25" Type="http://schemas.openxmlformats.org/officeDocument/2006/relationships/image" Target="../media/image39.png"/><Relationship Id="rId33" Type="http://schemas.openxmlformats.org/officeDocument/2006/relationships/chart" Target="../charts/chart2.xml"/><Relationship Id="rId2" Type="http://schemas.openxmlformats.org/officeDocument/2006/relationships/tags" Target="../tags/tag41.xml"/><Relationship Id="rId16" Type="http://schemas.openxmlformats.org/officeDocument/2006/relationships/tags" Target="../tags/tag55.xml"/><Relationship Id="rId20" Type="http://schemas.openxmlformats.org/officeDocument/2006/relationships/tags" Target="../tags/tag59.xml"/><Relationship Id="rId29" Type="http://schemas.openxmlformats.org/officeDocument/2006/relationships/image" Target="../media/image44.png"/><Relationship Id="rId1" Type="http://schemas.openxmlformats.org/officeDocument/2006/relationships/tags" Target="../tags/tag40.xml"/><Relationship Id="rId6" Type="http://schemas.openxmlformats.org/officeDocument/2006/relationships/tags" Target="../tags/tag45.xml"/><Relationship Id="rId11" Type="http://schemas.openxmlformats.org/officeDocument/2006/relationships/tags" Target="../tags/tag50.xml"/><Relationship Id="rId24" Type="http://schemas.openxmlformats.org/officeDocument/2006/relationships/image" Target="../media/image38.emf"/><Relationship Id="rId32" Type="http://schemas.openxmlformats.org/officeDocument/2006/relationships/image" Target="../media/image47.png"/><Relationship Id="rId5" Type="http://schemas.openxmlformats.org/officeDocument/2006/relationships/tags" Target="../tags/tag44.xml"/><Relationship Id="rId15" Type="http://schemas.openxmlformats.org/officeDocument/2006/relationships/tags" Target="../tags/tag54.xml"/><Relationship Id="rId23" Type="http://schemas.openxmlformats.org/officeDocument/2006/relationships/oleObject" Target="../embeddings/oleObject13.bin"/><Relationship Id="rId28" Type="http://schemas.openxmlformats.org/officeDocument/2006/relationships/image" Target="../media/image43.png"/><Relationship Id="rId10" Type="http://schemas.openxmlformats.org/officeDocument/2006/relationships/tags" Target="../tags/tag49.xml"/><Relationship Id="rId19" Type="http://schemas.openxmlformats.org/officeDocument/2006/relationships/tags" Target="../tags/tag58.xml"/><Relationship Id="rId31" Type="http://schemas.openxmlformats.org/officeDocument/2006/relationships/image" Target="../media/image46.png"/><Relationship Id="rId4" Type="http://schemas.openxmlformats.org/officeDocument/2006/relationships/tags" Target="../tags/tag43.xml"/><Relationship Id="rId9" Type="http://schemas.openxmlformats.org/officeDocument/2006/relationships/tags" Target="../tags/tag48.xml"/><Relationship Id="rId14" Type="http://schemas.openxmlformats.org/officeDocument/2006/relationships/tags" Target="../tags/tag53.xml"/><Relationship Id="rId22" Type="http://schemas.openxmlformats.org/officeDocument/2006/relationships/notesSlide" Target="../notesSlides/notesSlide8.xml"/><Relationship Id="rId27" Type="http://schemas.openxmlformats.org/officeDocument/2006/relationships/image" Target="../media/image39.emf"/><Relationship Id="rId30" Type="http://schemas.openxmlformats.org/officeDocument/2006/relationships/image" Target="../media/image45.png"/><Relationship Id="rId8" Type="http://schemas.openxmlformats.org/officeDocument/2006/relationships/tags" Target="../tags/tag47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2.png"/><Relationship Id="rId13" Type="http://schemas.openxmlformats.org/officeDocument/2006/relationships/image" Target="../media/image51.png"/><Relationship Id="rId3" Type="http://schemas.openxmlformats.org/officeDocument/2006/relationships/tags" Target="../tags/tag62.xml"/><Relationship Id="rId7" Type="http://schemas.openxmlformats.org/officeDocument/2006/relationships/image" Target="../media/image47.emf"/><Relationship Id="rId12" Type="http://schemas.openxmlformats.org/officeDocument/2006/relationships/image" Target="../media/image50.png"/><Relationship Id="rId2" Type="http://schemas.openxmlformats.org/officeDocument/2006/relationships/tags" Target="../tags/tag61.xml"/><Relationship Id="rId1" Type="http://schemas.openxmlformats.org/officeDocument/2006/relationships/tags" Target="../tags/tag60.xml"/><Relationship Id="rId6" Type="http://schemas.openxmlformats.org/officeDocument/2006/relationships/oleObject" Target="../embeddings/oleObject14.bin"/><Relationship Id="rId11" Type="http://schemas.openxmlformats.org/officeDocument/2006/relationships/image" Target="../media/image49.png"/><Relationship Id="rId5" Type="http://schemas.openxmlformats.org/officeDocument/2006/relationships/slideLayout" Target="../slideLayouts/slideLayout40.xml"/><Relationship Id="rId10" Type="http://schemas.openxmlformats.org/officeDocument/2006/relationships/image" Target="../media/image54.png"/><Relationship Id="rId4" Type="http://schemas.openxmlformats.org/officeDocument/2006/relationships/tags" Target="../tags/tag63.xml"/><Relationship Id="rId9" Type="http://schemas.openxmlformats.org/officeDocument/2006/relationships/image" Target="../media/image48.emf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Layout" Target="../slideLayouts/slideLayout32.xml"/><Relationship Id="rId1" Type="http://schemas.openxmlformats.org/officeDocument/2006/relationships/tags" Target="../tags/tag64.xml"/><Relationship Id="rId5" Type="http://schemas.openxmlformats.org/officeDocument/2006/relationships/image" Target="../media/image53.jpeg"/><Relationship Id="rId4" Type="http://schemas.openxmlformats.org/officeDocument/2006/relationships/image" Target="../media/image52.emf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7" Type="http://schemas.openxmlformats.org/officeDocument/2006/relationships/image" Target="../media/image4.png"/><Relationship Id="rId2" Type="http://schemas.openxmlformats.org/officeDocument/2006/relationships/slideLayout" Target="../slideLayouts/slideLayout22.xml"/><Relationship Id="rId1" Type="http://schemas.openxmlformats.org/officeDocument/2006/relationships/tags" Target="../tags/tag65.xml"/><Relationship Id="rId6" Type="http://schemas.openxmlformats.org/officeDocument/2006/relationships/image" Target="../media/image55.png"/><Relationship Id="rId5" Type="http://schemas.openxmlformats.org/officeDocument/2006/relationships/image" Target="../media/image5.png"/><Relationship Id="rId4" Type="http://schemas.openxmlformats.org/officeDocument/2006/relationships/image" Target="../media/image54.em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.xml"/><Relationship Id="rId4" Type="http://schemas.openxmlformats.org/officeDocument/2006/relationships/image" Target="../media/image5.emf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13" Type="http://schemas.openxmlformats.org/officeDocument/2006/relationships/image" Target="../media/image7.png"/><Relationship Id="rId18" Type="http://schemas.openxmlformats.org/officeDocument/2006/relationships/image" Target="../media/image12.png"/><Relationship Id="rId3" Type="http://schemas.openxmlformats.org/officeDocument/2006/relationships/tags" Target="../tags/tag7.xml"/><Relationship Id="rId7" Type="http://schemas.openxmlformats.org/officeDocument/2006/relationships/tags" Target="../tags/tag11.xml"/><Relationship Id="rId12" Type="http://schemas.openxmlformats.org/officeDocument/2006/relationships/image" Target="../media/image6.png"/><Relationship Id="rId17" Type="http://schemas.openxmlformats.org/officeDocument/2006/relationships/image" Target="../media/image11.png"/><Relationship Id="rId2" Type="http://schemas.openxmlformats.org/officeDocument/2006/relationships/tags" Target="../tags/tag6.xml"/><Relationship Id="rId16" Type="http://schemas.openxmlformats.org/officeDocument/2006/relationships/image" Target="../media/image10.png"/><Relationship Id="rId20" Type="http://schemas.openxmlformats.org/officeDocument/2006/relationships/image" Target="../media/image14.png"/><Relationship Id="rId1" Type="http://schemas.openxmlformats.org/officeDocument/2006/relationships/tags" Target="../tags/tag5.xml"/><Relationship Id="rId6" Type="http://schemas.openxmlformats.org/officeDocument/2006/relationships/tags" Target="../tags/tag10.xml"/><Relationship Id="rId11" Type="http://schemas.openxmlformats.org/officeDocument/2006/relationships/image" Target="../media/image6.emf"/><Relationship Id="rId5" Type="http://schemas.openxmlformats.org/officeDocument/2006/relationships/tags" Target="../tags/tag9.xml"/><Relationship Id="rId15" Type="http://schemas.openxmlformats.org/officeDocument/2006/relationships/image" Target="../media/image9.png"/><Relationship Id="rId10" Type="http://schemas.openxmlformats.org/officeDocument/2006/relationships/oleObject" Target="../embeddings/oleObject4.bin"/><Relationship Id="rId19" Type="http://schemas.openxmlformats.org/officeDocument/2006/relationships/image" Target="../media/image13.png"/><Relationship Id="rId4" Type="http://schemas.openxmlformats.org/officeDocument/2006/relationships/tags" Target="../tags/tag8.xml"/><Relationship Id="rId9" Type="http://schemas.openxmlformats.org/officeDocument/2006/relationships/notesSlide" Target="../notesSlides/notesSlide1.xml"/><Relationship Id="rId14" Type="http://schemas.openxmlformats.org/officeDocument/2006/relationships/image" Target="../media/image8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notesSlide" Target="../notesSlides/notesSlide2.xml"/><Relationship Id="rId7" Type="http://schemas.openxmlformats.org/officeDocument/2006/relationships/image" Target="../media/image16.emf"/><Relationship Id="rId2" Type="http://schemas.openxmlformats.org/officeDocument/2006/relationships/slideLayout" Target="../slideLayouts/slideLayout15.xml"/><Relationship Id="rId1" Type="http://schemas.openxmlformats.org/officeDocument/2006/relationships/tags" Target="../tags/tag12.xml"/><Relationship Id="rId6" Type="http://schemas.openxmlformats.org/officeDocument/2006/relationships/image" Target="../media/image16.png"/><Relationship Id="rId5" Type="http://schemas.openxmlformats.org/officeDocument/2006/relationships/image" Target="../media/image15.emf"/><Relationship Id="rId4" Type="http://schemas.openxmlformats.org/officeDocument/2006/relationships/oleObject" Target="../embeddings/oleObject5.bin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tags" Target="../tags/tag20.xml"/><Relationship Id="rId13" Type="http://schemas.openxmlformats.org/officeDocument/2006/relationships/tags" Target="../tags/tag25.xml"/><Relationship Id="rId18" Type="http://schemas.openxmlformats.org/officeDocument/2006/relationships/image" Target="../media/image18.png"/><Relationship Id="rId3" Type="http://schemas.openxmlformats.org/officeDocument/2006/relationships/tags" Target="../tags/tag15.xml"/><Relationship Id="rId7" Type="http://schemas.openxmlformats.org/officeDocument/2006/relationships/tags" Target="../tags/tag19.xml"/><Relationship Id="rId12" Type="http://schemas.openxmlformats.org/officeDocument/2006/relationships/tags" Target="../tags/tag24.xml"/><Relationship Id="rId17" Type="http://schemas.openxmlformats.org/officeDocument/2006/relationships/image" Target="../media/image15.emf"/><Relationship Id="rId2" Type="http://schemas.openxmlformats.org/officeDocument/2006/relationships/tags" Target="../tags/tag14.xml"/><Relationship Id="rId16" Type="http://schemas.openxmlformats.org/officeDocument/2006/relationships/oleObject" Target="../embeddings/oleObject6.bin"/><Relationship Id="rId1" Type="http://schemas.openxmlformats.org/officeDocument/2006/relationships/tags" Target="../tags/tag13.xml"/><Relationship Id="rId6" Type="http://schemas.openxmlformats.org/officeDocument/2006/relationships/tags" Target="../tags/tag18.xml"/><Relationship Id="rId11" Type="http://schemas.openxmlformats.org/officeDocument/2006/relationships/tags" Target="../tags/tag23.xml"/><Relationship Id="rId5" Type="http://schemas.openxmlformats.org/officeDocument/2006/relationships/tags" Target="../tags/tag17.xml"/><Relationship Id="rId15" Type="http://schemas.openxmlformats.org/officeDocument/2006/relationships/notesSlide" Target="../notesSlides/notesSlide3.xml"/><Relationship Id="rId10" Type="http://schemas.openxmlformats.org/officeDocument/2006/relationships/tags" Target="../tags/tag22.xml"/><Relationship Id="rId19" Type="http://schemas.openxmlformats.org/officeDocument/2006/relationships/chart" Target="../charts/chart1.xml"/><Relationship Id="rId4" Type="http://schemas.openxmlformats.org/officeDocument/2006/relationships/tags" Target="../tags/tag16.xml"/><Relationship Id="rId9" Type="http://schemas.openxmlformats.org/officeDocument/2006/relationships/tags" Target="../tags/tag21.xml"/><Relationship Id="rId14" Type="http://schemas.openxmlformats.org/officeDocument/2006/relationships/slideLayout" Target="../slideLayouts/slideLayout1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6.xml"/><Relationship Id="rId4" Type="http://schemas.openxmlformats.org/officeDocument/2006/relationships/image" Target="../media/image17.emf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13" Type="http://schemas.openxmlformats.org/officeDocument/2006/relationships/image" Target="../media/image21.png"/><Relationship Id="rId3" Type="http://schemas.openxmlformats.org/officeDocument/2006/relationships/slideLayout" Target="../slideLayouts/slideLayout40.xml"/><Relationship Id="rId7" Type="http://schemas.openxmlformats.org/officeDocument/2006/relationships/image" Target="../media/image160.png"/><Relationship Id="rId12" Type="http://schemas.openxmlformats.org/officeDocument/2006/relationships/image" Target="../media/image7.png"/><Relationship Id="rId2" Type="http://schemas.openxmlformats.org/officeDocument/2006/relationships/tags" Target="../tags/tag28.xml"/><Relationship Id="rId1" Type="http://schemas.openxmlformats.org/officeDocument/2006/relationships/tags" Target="../tags/tag27.xml"/><Relationship Id="rId6" Type="http://schemas.openxmlformats.org/officeDocument/2006/relationships/image" Target="../media/image18.emf"/><Relationship Id="rId11" Type="http://schemas.openxmlformats.org/officeDocument/2006/relationships/image" Target="../media/image23.png"/><Relationship Id="rId5" Type="http://schemas.openxmlformats.org/officeDocument/2006/relationships/oleObject" Target="../embeddings/oleObject8.bin"/><Relationship Id="rId10" Type="http://schemas.openxmlformats.org/officeDocument/2006/relationships/image" Target="../media/image20.png"/><Relationship Id="rId4" Type="http://schemas.openxmlformats.org/officeDocument/2006/relationships/notesSlide" Target="../notesSlides/notesSlide4.xml"/><Relationship Id="rId9" Type="http://schemas.openxmlformats.org/officeDocument/2006/relationships/image" Target="../media/image190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0.xml"/><Relationship Id="rId13" Type="http://schemas.openxmlformats.org/officeDocument/2006/relationships/image" Target="../media/image230.png"/><Relationship Id="rId18" Type="http://schemas.openxmlformats.org/officeDocument/2006/relationships/image" Target="../media/image26.png"/><Relationship Id="rId3" Type="http://schemas.openxmlformats.org/officeDocument/2006/relationships/tags" Target="../tags/tag31.xml"/><Relationship Id="rId21" Type="http://schemas.openxmlformats.org/officeDocument/2006/relationships/image" Target="../media/image29.png"/><Relationship Id="rId7" Type="http://schemas.openxmlformats.org/officeDocument/2006/relationships/tags" Target="../tags/tag35.xml"/><Relationship Id="rId12" Type="http://schemas.openxmlformats.org/officeDocument/2006/relationships/image" Target="../media/image220.png"/><Relationship Id="rId17" Type="http://schemas.openxmlformats.org/officeDocument/2006/relationships/image" Target="../media/image25.png"/><Relationship Id="rId2" Type="http://schemas.openxmlformats.org/officeDocument/2006/relationships/tags" Target="../tags/tag30.xml"/><Relationship Id="rId16" Type="http://schemas.openxmlformats.org/officeDocument/2006/relationships/image" Target="../media/image260.png"/><Relationship Id="rId20" Type="http://schemas.openxmlformats.org/officeDocument/2006/relationships/image" Target="../media/image28.png"/><Relationship Id="rId1" Type="http://schemas.openxmlformats.org/officeDocument/2006/relationships/tags" Target="../tags/tag29.xml"/><Relationship Id="rId6" Type="http://schemas.openxmlformats.org/officeDocument/2006/relationships/tags" Target="../tags/tag34.xml"/><Relationship Id="rId11" Type="http://schemas.openxmlformats.org/officeDocument/2006/relationships/image" Target="../media/image22.emf"/><Relationship Id="rId5" Type="http://schemas.openxmlformats.org/officeDocument/2006/relationships/tags" Target="../tags/tag33.xml"/><Relationship Id="rId15" Type="http://schemas.openxmlformats.org/officeDocument/2006/relationships/image" Target="../media/image24.png"/><Relationship Id="rId23" Type="http://schemas.openxmlformats.org/officeDocument/2006/relationships/image" Target="../media/image31.png"/><Relationship Id="rId10" Type="http://schemas.openxmlformats.org/officeDocument/2006/relationships/oleObject" Target="../embeddings/oleObject9.bin"/><Relationship Id="rId19" Type="http://schemas.openxmlformats.org/officeDocument/2006/relationships/image" Target="../media/image27.png"/><Relationship Id="rId4" Type="http://schemas.openxmlformats.org/officeDocument/2006/relationships/tags" Target="../tags/tag32.xml"/><Relationship Id="rId9" Type="http://schemas.openxmlformats.org/officeDocument/2006/relationships/notesSlide" Target="../notesSlides/notesSlide5.xml"/><Relationship Id="rId14" Type="http://schemas.openxmlformats.org/officeDocument/2006/relationships/image" Target="../media/image240.png"/><Relationship Id="rId22" Type="http://schemas.openxmlformats.org/officeDocument/2006/relationships/image" Target="../media/image30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4.png"/><Relationship Id="rId3" Type="http://schemas.openxmlformats.org/officeDocument/2006/relationships/slideLayout" Target="../slideLayouts/slideLayout14.xml"/><Relationship Id="rId7" Type="http://schemas.openxmlformats.org/officeDocument/2006/relationships/image" Target="../media/image33.png"/><Relationship Id="rId2" Type="http://schemas.openxmlformats.org/officeDocument/2006/relationships/tags" Target="../tags/tag37.xml"/><Relationship Id="rId1" Type="http://schemas.openxmlformats.org/officeDocument/2006/relationships/tags" Target="../tags/tag36.xml"/><Relationship Id="rId6" Type="http://schemas.openxmlformats.org/officeDocument/2006/relationships/image" Target="../media/image32.emf"/><Relationship Id="rId5" Type="http://schemas.openxmlformats.org/officeDocument/2006/relationships/oleObject" Target="../embeddings/oleObject10.bin"/><Relationship Id="rId4" Type="http://schemas.openxmlformats.org/officeDocument/2006/relationships/notesSlide" Target="../notesSlides/notesSlide6.xml"/><Relationship Id="rId9" Type="http://schemas.openxmlformats.org/officeDocument/2006/relationships/image" Target="../media/image35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3628D0F6-3595-31A6-ADD4-F731D7497EF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62217183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Bildplatzhalter 22">
            <a:extLst>
              <a:ext uri="{FF2B5EF4-FFF2-40B4-BE49-F238E27FC236}">
                <a16:creationId xmlns:a16="http://schemas.microsoft.com/office/drawing/2014/main" id="{F1AD5981-E4BD-767E-2561-84C79DE3E243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5"/>
          <a:srcRect t="34316" b="34316"/>
          <a:stretch/>
        </p:blipFill>
        <p:spPr>
          <a:noFill/>
        </p:spPr>
      </p:pic>
      <p:sp>
        <p:nvSpPr>
          <p:cNvPr id="5" name="Titel 4">
            <a:extLst>
              <a:ext uri="{FF2B5EF4-FFF2-40B4-BE49-F238E27FC236}">
                <a16:creationId xmlns:a16="http://schemas.microsoft.com/office/drawing/2014/main" id="{5C44666C-DAAF-B0B7-5911-2FEA58B2DF6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71475" y="4041775"/>
            <a:ext cx="11449050" cy="1691479"/>
          </a:xfrm>
        </p:spPr>
        <p:txBody>
          <a:bodyPr vert="horz"/>
          <a:lstStyle/>
          <a:p>
            <a:r>
              <a:rPr lang="en-US" dirty="0"/>
              <a:t>Full NNLO QCD Corrections to B Meson Mixing</a:t>
            </a:r>
          </a:p>
        </p:txBody>
      </p:sp>
      <p:sp>
        <p:nvSpPr>
          <p:cNvPr id="6" name="Untertitel 5">
            <a:extLst>
              <a:ext uri="{FF2B5EF4-FFF2-40B4-BE49-F238E27FC236}">
                <a16:creationId xmlns:a16="http://schemas.microsoft.com/office/drawing/2014/main" id="{0B097529-A401-DC7C-4D1A-76AD8204E56D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>
                <a:solidFill>
                  <a:schemeClr val="tx2"/>
                </a:solidFill>
              </a:rPr>
              <a:t>EPS HEP 2025, Marseille, 8</a:t>
            </a:r>
            <a:r>
              <a:rPr lang="en-US" baseline="30000" dirty="0">
                <a:solidFill>
                  <a:schemeClr val="tx2"/>
                </a:solidFill>
              </a:rPr>
              <a:t>th</a:t>
            </a:r>
            <a:r>
              <a:rPr lang="en-US" dirty="0">
                <a:solidFill>
                  <a:schemeClr val="tx2"/>
                </a:solidFill>
              </a:rPr>
              <a:t> July 2025</a:t>
            </a:r>
          </a:p>
          <a:p>
            <a:r>
              <a:rPr lang="en-US" dirty="0">
                <a:solidFill>
                  <a:schemeClr val="tx2"/>
                </a:solidFill>
              </a:rPr>
              <a:t>Pascal Reeck</a:t>
            </a:r>
          </a:p>
        </p:txBody>
      </p:sp>
      <p:sp>
        <p:nvSpPr>
          <p:cNvPr id="9" name="Datumsplatzhalter 8">
            <a:extLst>
              <a:ext uri="{FF2B5EF4-FFF2-40B4-BE49-F238E27FC236}">
                <a16:creationId xmlns:a16="http://schemas.microsoft.com/office/drawing/2014/main" id="{D0C87C01-931A-FD86-2F80-C64C883641F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>
            <a:normAutofit fontScale="25000" lnSpcReduction="20000"/>
          </a:bodyPr>
          <a:lstStyle/>
          <a:p>
            <a:fld id="{080F8627-4D99-4A46-B65F-C33488323170}" type="datetime3">
              <a:rPr lang="de-DE" smtClean="0"/>
              <a:t>01/07/2025</a:t>
            </a:fld>
            <a:endParaRPr lang="en-US"/>
          </a:p>
        </p:txBody>
      </p:sp>
      <p:sp>
        <p:nvSpPr>
          <p:cNvPr id="10" name="Fußzeilenplatzhalter 9">
            <a:extLst>
              <a:ext uri="{FF2B5EF4-FFF2-40B4-BE49-F238E27FC236}">
                <a16:creationId xmlns:a16="http://schemas.microsoft.com/office/drawing/2014/main" id="{B2FD1E87-4EE6-EC2E-37A5-E5E071422C7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>
            <a:normAutofit fontScale="25000" lnSpcReduction="20000"/>
          </a:bodyPr>
          <a:lstStyle/>
          <a:p>
            <a:r>
              <a:rPr lang="en-US"/>
              <a:t>Name - Title of Presentation</a:t>
            </a:r>
            <a:endParaRPr lang="en-US" dirty="0"/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BD806E9D-C338-A10A-D2A0-FEF4E3BE0A2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>
            <a:normAutofit fontScale="25000" lnSpcReduction="20000"/>
          </a:bodyPr>
          <a:lstStyle/>
          <a:p>
            <a:fld id="{776FC98F-84AD-404B-BCCB-49E092AA6DE0}" type="slidenum">
              <a:rPr lang="en-US" smtClean="0"/>
              <a:pPr/>
              <a:t>1</a:t>
            </a:fld>
            <a:endParaRPr lang="en-US"/>
          </a:p>
        </p:txBody>
      </p:sp>
      <p:sp>
        <p:nvSpPr>
          <p:cNvPr id="2" name="SmartArt Placeholder 1">
            <a:extLst>
              <a:ext uri="{FF2B5EF4-FFF2-40B4-BE49-F238E27FC236}">
                <a16:creationId xmlns:a16="http://schemas.microsoft.com/office/drawing/2014/main" id="{BC182C86-D488-C566-C9E7-926DCCD3645A}"/>
              </a:ext>
            </a:extLst>
          </p:cNvPr>
          <p:cNvSpPr>
            <a:spLocks noGrp="1"/>
          </p:cNvSpPr>
          <p:nvPr>
            <p:ph type="dgm" sz="quarter" idx="2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Textfeld 45">
            <a:extLst>
              <a:ext uri="{FF2B5EF4-FFF2-40B4-BE49-F238E27FC236}">
                <a16:creationId xmlns:a16="http://schemas.microsoft.com/office/drawing/2014/main" id="{2310DA87-ED96-E5E9-EE38-3B9928CD0A27}"/>
              </a:ext>
            </a:extLst>
          </p:cNvPr>
          <p:cNvSpPr txBox="1">
            <a:spLocks/>
          </p:cNvSpPr>
          <p:nvPr/>
        </p:nvSpPr>
        <p:spPr bwMode="gray">
          <a:xfrm>
            <a:off x="0" y="2923703"/>
            <a:ext cx="12191999" cy="900585"/>
          </a:xfrm>
          <a:prstGeom prst="rect">
            <a:avLst/>
          </a:prstGeom>
          <a:blipFill dpi="0" rotWithShape="1">
            <a:blip r:embed="rId6">
              <a:grayscl/>
            </a:blip>
            <a:srcRect/>
            <a:stretch>
              <a:fillRect/>
            </a:stretch>
          </a:blipFill>
          <a:effectLst/>
        </p:spPr>
        <p:txBody>
          <a:bodyPr wrap="square" lIns="108000" tIns="0" rIns="0" bIns="108000" rtlCol="0" anchor="b">
            <a:noAutofit/>
          </a:bodyPr>
          <a:lstStyle/>
          <a:p>
            <a:pPr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</a:pPr>
            <a:r>
              <a:rPr lang="en-US" sz="700" dirty="0">
                <a:solidFill>
                  <a:schemeClr val="bg1">
                    <a:alpha val="70000"/>
                  </a:schemeClr>
                </a:solidFill>
                <a:ea typeface="Microsoft Sans Serif" panose="020B0604020202020204" pitchFamily="34" charset="0"/>
                <a:cs typeface="Microsoft Sans Serif" panose="020B0604020202020204" pitchFamily="34" charset="0"/>
              </a:rPr>
              <a:t>© ChatGPT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BF9FFE64-5D84-E6D2-AFEA-157497645AF1}"/>
              </a:ext>
            </a:extLst>
          </p:cNvPr>
          <p:cNvSpPr txBox="1"/>
          <p:nvPr/>
        </p:nvSpPr>
        <p:spPr bwMode="gray">
          <a:xfrm>
            <a:off x="12881113" y="225287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180000" indent="-180000" algn="l" defTabSz="914347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SzPct val="90000"/>
              <a:buFont typeface="Wingdings" panose="05000000000000000000" pitchFamily="2" charset="2"/>
              <a:buChar char="§"/>
            </a:pPr>
            <a:endParaRPr lang="en-GB" sz="1400" dirty="0" err="1"/>
          </a:p>
        </p:txBody>
      </p:sp>
    </p:spTree>
    <p:extLst>
      <p:ext uri="{BB962C8B-B14F-4D97-AF65-F5344CB8AC3E}">
        <p14:creationId xmlns:p14="http://schemas.microsoft.com/office/powerpoint/2010/main" val="305388610"/>
      </p:ext>
    </p:extLst>
  </p:cSld>
  <p:clrMapOvr>
    <a:masterClrMapping/>
  </p:clrMapOvr>
  <p:transition>
    <p:fade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21C1A10-327B-F471-8BF3-0EE54BBDAD0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34933797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EA67DD9C-98A6-5CDB-D754-765FF7852CE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/>
              <a:t>Result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40A645F-8E67-74A0-8525-351454B9A50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dirty="0"/>
              <a:t>Status of the calculation</a:t>
            </a:r>
          </a:p>
          <a:p>
            <a:r>
              <a:rPr lang="en-GB" dirty="0"/>
              <a:t>Physical observables</a:t>
            </a:r>
          </a:p>
          <a:p>
            <a:r>
              <a:rPr lang="en-GB" dirty="0"/>
              <a:t>Constraints on the CKM triang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0E8D62E-9143-000F-9B4D-DA91BE8409D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>
            <a:normAutofit fontScale="25000" lnSpcReduction="20000"/>
          </a:bodyPr>
          <a:lstStyle/>
          <a:p>
            <a:fld id="{712354FD-0474-4525-BD33-C643DFB57DBF}" type="datetime3">
              <a:rPr lang="de-DE" smtClean="0"/>
              <a:t>01/07/2025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2DEAFAA-F87D-C94D-F7AA-F9F89AB02A4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>
            <a:normAutofit fontScale="25000" lnSpcReduction="20000"/>
          </a:bodyPr>
          <a:lstStyle/>
          <a:p>
            <a:r>
              <a:rPr lang="en-US"/>
              <a:t>Name - Title of Presentation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60C9E69-C531-2AD9-F964-65E19BEC44C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>
            <a:normAutofit fontScale="25000" lnSpcReduction="20000"/>
          </a:bodyPr>
          <a:lstStyle/>
          <a:p>
            <a:fld id="{776FC98F-84AD-404B-BCCB-49E092AA6DE0}" type="slidenum">
              <a:rPr lang="en-US" smtClean="0"/>
              <a:pPr/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32610635"/>
      </p:ext>
    </p:extLst>
  </p:cSld>
  <p:clrMapOvr>
    <a:masterClrMapping/>
  </p:clrMapOvr>
  <p:transition>
    <p:fade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EC8B2C4B-EBB5-5F61-BF83-33FA8ACF4F8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63339070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C8B2C4B-EBB5-5F61-BF83-33FA8ACF4F8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83C5A48C-FA3D-15A6-4160-7D78BC0AE45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/>
              <a:t>We have calculated all NNLO contributions to       .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BB15E76-FC46-2E3C-7E89-B6602268ABA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Pascal Reeck – B meson mixing at NNLO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84B36B6-B212-6312-EF71-CC286D4381D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76FC98F-84AD-404B-BCCB-49E092AA6DE0}" type="slidenum">
              <a:rPr lang="en-US" noProof="1" smtClean="0"/>
              <a:pPr/>
              <a:t>11</a:t>
            </a:fld>
            <a:endParaRPr lang="en-US" noProof="1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038DEA2-166C-87BB-222E-CFCA26E77F62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r>
              <a:rPr lang="de-DE" noProof="1"/>
              <a:t>08/07/2025</a:t>
            </a:r>
            <a:endParaRPr lang="en-US" noProof="1"/>
          </a:p>
        </p:txBody>
      </p:sp>
      <mc:AlternateContent xmlns:mc="http://schemas.openxmlformats.org/markup-compatibility/2006" xmlns:a14="http://schemas.microsoft.com/office/drawing/2010/main">
        <mc:Choice Requires="a14">
          <p:graphicFrame>
            <p:nvGraphicFramePr>
              <p:cNvPr id="6" name="Table 5">
                <a:extLst>
                  <a:ext uri="{FF2B5EF4-FFF2-40B4-BE49-F238E27FC236}">
                    <a16:creationId xmlns:a16="http://schemas.microsoft.com/office/drawing/2014/main" id="{719C6F0E-D16C-6CB3-799D-AC1070A241D6}"/>
                  </a:ext>
                </a:extLst>
              </p:cNvPr>
              <p:cNvGraphicFramePr>
                <a:graphicFrameLocks noGrp="1"/>
              </p:cNvGraphicFramePr>
              <p:nvPr>
                <p:extLst>
                  <p:ext uri="{D42A27DB-BD31-4B8C-83A1-F6EECF244321}">
                    <p14:modId xmlns:p14="http://schemas.microsoft.com/office/powerpoint/2010/main" val="1366747418"/>
                  </p:ext>
                </p:extLst>
              </p:nvPr>
            </p:nvGraphicFramePr>
            <p:xfrm>
              <a:off x="371475" y="1400961"/>
              <a:ext cx="7561264" cy="4872839"/>
            </p:xfrm>
            <a:graphic>
              <a:graphicData uri="http://schemas.openxmlformats.org/drawingml/2006/table">
                <a:tbl>
                  <a:tblPr firstRow="1" bandRow="1">
                    <a:tableStyleId>{7E9639D4-E3E2-4D34-9284-5A2195B3D0D7}</a:tableStyleId>
                  </a:tblPr>
                  <a:tblGrid>
                    <a:gridCol w="1890316">
                      <a:extLst>
                        <a:ext uri="{9D8B030D-6E8A-4147-A177-3AD203B41FA5}">
                          <a16:colId xmlns:a16="http://schemas.microsoft.com/office/drawing/2014/main" val="3075996691"/>
                        </a:ext>
                      </a:extLst>
                    </a:gridCol>
                    <a:gridCol w="1890316">
                      <a:extLst>
                        <a:ext uri="{9D8B030D-6E8A-4147-A177-3AD203B41FA5}">
                          <a16:colId xmlns:a16="http://schemas.microsoft.com/office/drawing/2014/main" val="239572736"/>
                        </a:ext>
                      </a:extLst>
                    </a:gridCol>
                    <a:gridCol w="1890316">
                      <a:extLst>
                        <a:ext uri="{9D8B030D-6E8A-4147-A177-3AD203B41FA5}">
                          <a16:colId xmlns:a16="http://schemas.microsoft.com/office/drawing/2014/main" val="3988622350"/>
                        </a:ext>
                      </a:extLst>
                    </a:gridCol>
                    <a:gridCol w="1890316">
                      <a:extLst>
                        <a:ext uri="{9D8B030D-6E8A-4147-A177-3AD203B41FA5}">
                          <a16:colId xmlns:a16="http://schemas.microsoft.com/office/drawing/2014/main" val="1613997504"/>
                        </a:ext>
                      </a:extLst>
                    </a:gridCol>
                  </a:tblGrid>
                  <a:tr h="1213043">
                    <a:tc>
                      <a:txBody>
                        <a:bodyPr/>
                        <a:lstStyle/>
                        <a:p>
                          <a:r>
                            <a:rPr lang="en-GB" dirty="0"/>
                            <a:t>Contribution</a:t>
                          </a: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marL="0" marR="0" lvl="0" indent="0" algn="l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en-GB" dirty="0"/>
                            <a:t>Previous results</a:t>
                          </a:r>
                        </a:p>
                        <a:p>
                          <a:pPr marL="0" marR="0" lvl="0" indent="0" algn="l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en-US" sz="1200" b="1" dirty="0">
                              <a:solidFill>
                                <a:schemeClr val="accent3"/>
                              </a:solidFill>
                            </a:rPr>
                            <a:t>[Gerlach, </a:t>
                          </a:r>
                          <a:r>
                            <a:rPr lang="en-US" sz="1200" b="1" dirty="0" err="1">
                              <a:solidFill>
                                <a:schemeClr val="accent3"/>
                              </a:solidFill>
                            </a:rPr>
                            <a:t>Nierste</a:t>
                          </a:r>
                          <a:r>
                            <a:rPr lang="en-US" sz="1200" b="1" dirty="0">
                              <a:solidFill>
                                <a:schemeClr val="accent3"/>
                              </a:solidFill>
                            </a:rPr>
                            <a:t>, </a:t>
                          </a:r>
                          <a:r>
                            <a:rPr lang="en-US" sz="1200" b="1" dirty="0" err="1">
                              <a:solidFill>
                                <a:schemeClr val="accent3"/>
                              </a:solidFill>
                            </a:rPr>
                            <a:t>Shtabovenko</a:t>
                          </a:r>
                          <a:r>
                            <a:rPr lang="en-US" sz="1200" b="1" dirty="0">
                              <a:solidFill>
                                <a:schemeClr val="accent3"/>
                              </a:solidFill>
                            </a:rPr>
                            <a:t>, Steinhauser, 2022]</a:t>
                          </a:r>
                          <a:endParaRPr lang="en-GB" sz="1200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marL="0" marR="0" lvl="0" indent="0" algn="l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en-GB" dirty="0"/>
                            <a:t>New results </a:t>
                          </a:r>
                          <a:r>
                            <a:rPr lang="en-GB" sz="1200" b="1" kern="1200" dirty="0">
                              <a:solidFill>
                                <a:schemeClr val="accent3"/>
                              </a:solidFill>
                              <a:latin typeface="+mn-lt"/>
                              <a:ea typeface="+mn-ea"/>
                              <a:cs typeface="+mn-cs"/>
                            </a:rPr>
                            <a:t>[</a:t>
                          </a:r>
                          <a:r>
                            <a:rPr lang="en-GB" sz="1200" b="1" kern="1200" dirty="0" err="1">
                              <a:solidFill>
                                <a:schemeClr val="accent3"/>
                              </a:solidFill>
                              <a:latin typeface="+mn-lt"/>
                              <a:ea typeface="+mn-ea"/>
                              <a:cs typeface="+mn-cs"/>
                            </a:rPr>
                            <a:t>Nierste</a:t>
                          </a:r>
                          <a:r>
                            <a:rPr lang="en-GB" sz="1200" b="1" kern="1200" dirty="0">
                              <a:solidFill>
                                <a:schemeClr val="accent3"/>
                              </a:solidFill>
                              <a:latin typeface="+mn-lt"/>
                              <a:ea typeface="+mn-ea"/>
                              <a:cs typeface="+mn-cs"/>
                            </a:rPr>
                            <a:t>, Reeck, </a:t>
                          </a:r>
                          <a:r>
                            <a:rPr lang="en-GB" sz="1200" b="1" kern="1200" dirty="0" err="1">
                              <a:solidFill>
                                <a:schemeClr val="accent3"/>
                              </a:solidFill>
                              <a:latin typeface="+mn-lt"/>
                              <a:ea typeface="+mn-ea"/>
                              <a:cs typeface="+mn-cs"/>
                            </a:rPr>
                            <a:t>Shtabovenko</a:t>
                          </a:r>
                          <a:r>
                            <a:rPr lang="en-GB" sz="1200" b="1" kern="1200" dirty="0">
                              <a:solidFill>
                                <a:schemeClr val="accent3"/>
                              </a:solidFill>
                              <a:latin typeface="+mn-lt"/>
                              <a:ea typeface="+mn-ea"/>
                              <a:cs typeface="+mn-cs"/>
                            </a:rPr>
                            <a:t>, Steinhauser, 2025]</a:t>
                          </a: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marL="0" marR="0" lvl="0" indent="0" algn="l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en-GB" sz="1800" b="1" kern="1200" dirty="0">
                              <a:solidFill>
                                <a:schemeClr val="bg1"/>
                              </a:solidFill>
                              <a:latin typeface="+mn-lt"/>
                              <a:ea typeface="+mn-ea"/>
                              <a:cs typeface="+mn-cs"/>
                            </a:rPr>
                            <a:t>Status</a:t>
                          </a:r>
                        </a:p>
                      </a:txBody>
                      <a:tcPr/>
                    </a:tc>
                    <a:extLst>
                      <a:ext uri="{0D108BD9-81ED-4DB2-BD59-A6C34878D82A}">
                        <a16:rowId xmlns:a16="http://schemas.microsoft.com/office/drawing/2014/main" val="1302955405"/>
                      </a:ext>
                    </a:extLst>
                  </a:tr>
                  <a:tr h="609966">
                    <a:tc>
                      <a:txBody>
                        <a:bodyPr/>
                        <a:lstStyle/>
                        <a:p>
                          <a:pPr algn="l"/>
                          <a14:m>
                            <m:oMathPara xmlns:m="http://schemas.openxmlformats.org/officeDocument/2006/math">
                              <m:oMathParaPr>
                                <m:jc m:val="left"/>
                              </m:oMathParaPr>
                              <m:oMath xmlns:m="http://schemas.openxmlformats.org/officeDocument/2006/math">
                                <m:sSub>
                                  <m:sSubPr>
                                    <m:ctrlPr>
                                      <a:rPr lang="en-US" b="0" i="1" smtClean="0"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en-US" b="0" i="1" smtClean="0">
                                        <a:latin typeface="Cambria Math" panose="02040503050406030204" pitchFamily="18" charset="0"/>
                                      </a:rPr>
                                      <m:t>𝑃</m:t>
                                    </m:r>
                                  </m:e>
                                  <m:sub>
                                    <m:r>
                                      <a:rPr lang="en-US" b="0" i="1" smtClean="0">
                                        <a:latin typeface="Cambria Math" panose="02040503050406030204" pitchFamily="18" charset="0"/>
                                      </a:rPr>
                                      <m:t>1,2</m:t>
                                    </m:r>
                                  </m:sub>
                                </m:sSub>
                                <m:r>
                                  <a:rPr lang="en-US" b="0" i="1" smtClean="0">
                                    <a:latin typeface="Cambria Math" panose="02040503050406030204" pitchFamily="18" charset="0"/>
                                  </a:rPr>
                                  <m:t> × </m:t>
                                </m:r>
                                <m:sSub>
                                  <m:sSubPr>
                                    <m:ctrlPr>
                                      <a:rPr lang="en-US" b="0" i="1" smtClean="0"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en-US" b="0" i="1" smtClean="0">
                                        <a:latin typeface="Cambria Math" panose="02040503050406030204" pitchFamily="18" charset="0"/>
                                      </a:rPr>
                                      <m:t>𝑃</m:t>
                                    </m:r>
                                  </m:e>
                                  <m:sub>
                                    <m:r>
                                      <a:rPr lang="en-US" b="0" i="1" smtClean="0">
                                        <a:latin typeface="Cambria Math" panose="02040503050406030204" pitchFamily="18" charset="0"/>
                                      </a:rPr>
                                      <m:t>1,2</m:t>
                                    </m:r>
                                  </m:sub>
                                </m:sSub>
                              </m:oMath>
                            </m:oMathPara>
                          </a14:m>
                          <a:endParaRPr lang="en-GB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algn="l"/>
                          <a:r>
                            <a:rPr lang="en-GB" sz="1800" kern="1200" dirty="0">
                              <a:solidFill>
                                <a:schemeClr val="tx1"/>
                              </a:solidFill>
                              <a:effectLst/>
                              <a:latin typeface="+mn-lt"/>
                              <a:ea typeface="+mn-ea"/>
                              <a:cs typeface="+mn-cs"/>
                            </a:rPr>
                            <a:t>3 loops, </a:t>
                          </a:r>
                          <a14:m>
                            <m:oMath xmlns:m="http://schemas.openxmlformats.org/officeDocument/2006/math">
                              <m:r>
                                <a:rPr lang="en-US" sz="1800" b="0" i="1" kern="1200" smtClean="0">
                                  <a:solidFill>
                                    <a:schemeClr val="tx1"/>
                                  </a:solidFill>
                                  <a:effectLst/>
                                  <a:latin typeface="Cambria Math" panose="02040503050406030204" pitchFamily="18" charset="0"/>
                                  <a:ea typeface="+mn-ea"/>
                                  <a:cs typeface="+mn-cs"/>
                                </a:rPr>
                                <m:t>𝑂</m:t>
                              </m:r>
                              <m:r>
                                <a:rPr lang="en-US" sz="1800" b="0" i="1" kern="1200" smtClean="0">
                                  <a:solidFill>
                                    <a:schemeClr val="tx1"/>
                                  </a:solidFill>
                                  <a:effectLst/>
                                  <a:latin typeface="Cambria Math" panose="02040503050406030204" pitchFamily="18" charset="0"/>
                                  <a:ea typeface="+mn-ea"/>
                                  <a:cs typeface="+mn-cs"/>
                                </a:rPr>
                                <m:t>(</m:t>
                              </m:r>
                              <m:r>
                                <a:rPr lang="en-US" sz="1800" b="0" i="1" kern="1200" smtClean="0">
                                  <a:solidFill>
                                    <a:schemeClr val="tx1"/>
                                  </a:solidFill>
                                  <a:effectLst/>
                                  <a:latin typeface="Cambria Math" panose="02040503050406030204" pitchFamily="18" charset="0"/>
                                  <a:ea typeface="+mn-ea"/>
                                  <a:cs typeface="+mn-cs"/>
                                </a:rPr>
                                <m:t>𝑧</m:t>
                              </m:r>
                              <m:r>
                                <a:rPr lang="en-US" sz="1800" b="0" i="1" kern="1200" smtClean="0">
                                  <a:solidFill>
                                    <a:schemeClr val="tx1"/>
                                  </a:solidFill>
                                  <a:effectLst/>
                                  <a:latin typeface="Cambria Math" panose="02040503050406030204" pitchFamily="18" charset="0"/>
                                  <a:ea typeface="+mn-ea"/>
                                  <a:cs typeface="+mn-cs"/>
                                </a:rPr>
                                <m:t>)</m:t>
                              </m:r>
                            </m:oMath>
                          </a14:m>
                          <a:endParaRPr lang="en-GB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marL="0" marR="0" lvl="0" indent="0" algn="l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en-GB" dirty="0">
                              <a:solidFill>
                                <a:schemeClr val="tx1"/>
                              </a:solidFill>
                            </a:rPr>
                            <a:t>3</a:t>
                          </a:r>
                          <a:r>
                            <a:rPr lang="en-GB" dirty="0"/>
                            <a:t> loops,</a:t>
                          </a:r>
                          <a:r>
                            <a:rPr lang="en-GB" dirty="0">
                              <a:solidFill>
                                <a:schemeClr val="accent1"/>
                              </a:solidFill>
                            </a:rPr>
                            <a:t> </a:t>
                          </a:r>
                          <a14:m>
                            <m:oMath xmlns:m="http://schemas.openxmlformats.org/officeDocument/2006/math">
                              <m:r>
                                <a:rPr lang="en-US" sz="1800" b="0" i="1" kern="1200" smtClean="0">
                                  <a:solidFill>
                                    <a:srgbClr val="A3107C"/>
                                  </a:solidFill>
                                  <a:effectLst/>
                                  <a:latin typeface="Cambria Math" panose="02040503050406030204" pitchFamily="18" charset="0"/>
                                  <a:ea typeface="+mn-ea"/>
                                  <a:cs typeface="+mn-cs"/>
                                </a:rPr>
                                <m:t>𝑂</m:t>
                              </m:r>
                              <m:r>
                                <a:rPr lang="en-US" sz="1800" b="0" i="1" kern="1200" smtClean="0">
                                  <a:solidFill>
                                    <a:srgbClr val="A3107C"/>
                                  </a:solidFill>
                                  <a:effectLst/>
                                  <a:latin typeface="Cambria Math" panose="02040503050406030204" pitchFamily="18" charset="0"/>
                                  <a:ea typeface="+mn-ea"/>
                                  <a:cs typeface="+mn-cs"/>
                                </a:rPr>
                                <m:t>(</m:t>
                              </m:r>
                              <m:sSup>
                                <m:sSupPr>
                                  <m:ctrlPr>
                                    <a:rPr lang="en-US" sz="1800" b="0" i="1" kern="1200" smtClean="0">
                                      <a:solidFill>
                                        <a:srgbClr val="A3107C"/>
                                      </a:solidFill>
                                      <a:effectLst/>
                                      <a:latin typeface="Cambria Math" panose="02040503050406030204" pitchFamily="18" charset="0"/>
                                      <a:ea typeface="+mn-ea"/>
                                      <a:cs typeface="+mn-cs"/>
                                    </a:rPr>
                                  </m:ctrlPr>
                                </m:sSupPr>
                                <m:e>
                                  <m:r>
                                    <a:rPr lang="en-US" sz="1800" b="0" i="1" kern="1200" smtClean="0">
                                      <a:solidFill>
                                        <a:srgbClr val="A3107C"/>
                                      </a:solidFill>
                                      <a:effectLst/>
                                      <a:latin typeface="Cambria Math" panose="02040503050406030204" pitchFamily="18" charset="0"/>
                                      <a:ea typeface="+mn-ea"/>
                                      <a:cs typeface="+mn-cs"/>
                                    </a:rPr>
                                    <m:t>𝑧</m:t>
                                  </m:r>
                                </m:e>
                                <m:sup>
                                  <m:r>
                                    <a:rPr lang="en-US" sz="1800" b="0" i="1" kern="1200" smtClean="0">
                                      <a:solidFill>
                                        <a:srgbClr val="A3107C"/>
                                      </a:solidFill>
                                      <a:effectLst/>
                                      <a:latin typeface="Cambria Math" panose="02040503050406030204" pitchFamily="18" charset="0"/>
                                      <a:ea typeface="+mn-ea"/>
                                      <a:cs typeface="+mn-cs"/>
                                    </a:rPr>
                                    <m:t>10</m:t>
                                  </m:r>
                                </m:sup>
                              </m:sSup>
                              <m:r>
                                <a:rPr lang="en-US" sz="1800" b="0" i="1" kern="1200" smtClean="0">
                                  <a:solidFill>
                                    <a:srgbClr val="A3107C"/>
                                  </a:solidFill>
                                  <a:effectLst/>
                                  <a:latin typeface="Cambria Math" panose="02040503050406030204" pitchFamily="18" charset="0"/>
                                  <a:ea typeface="+mn-ea"/>
                                  <a:cs typeface="+mn-cs"/>
                                </a:rPr>
                                <m:t>)</m:t>
                              </m:r>
                            </m:oMath>
                          </a14:m>
                          <a:endParaRPr lang="en-GB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marL="0" marR="0" lvl="0" indent="0" algn="l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endParaRPr lang="en-GB" dirty="0"/>
                        </a:p>
                      </a:txBody>
                      <a:tcPr anchor="ctr"/>
                    </a:tc>
                    <a:extLst>
                      <a:ext uri="{0D108BD9-81ED-4DB2-BD59-A6C34878D82A}">
                        <a16:rowId xmlns:a16="http://schemas.microsoft.com/office/drawing/2014/main" val="1944916570"/>
                      </a:ext>
                    </a:extLst>
                  </a:tr>
                  <a:tr h="609966">
                    <a:tc>
                      <a:txBody>
                        <a:bodyPr/>
                        <a:lstStyle/>
                        <a:p>
                          <a:pPr algn="l"/>
                          <a14:m>
                            <m:oMathPara xmlns:m="http://schemas.openxmlformats.org/officeDocument/2006/math">
                              <m:oMathParaPr>
                                <m:jc m:val="left"/>
                              </m:oMathParaPr>
                              <m:oMath xmlns:m="http://schemas.openxmlformats.org/officeDocument/2006/math">
                                <m:sSub>
                                  <m:sSubPr>
                                    <m:ctrlPr>
                                      <a:rPr lang="en-US" b="0" i="1" smtClean="0"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en-US" b="0" i="1" smtClean="0">
                                        <a:latin typeface="Cambria Math" panose="02040503050406030204" pitchFamily="18" charset="0"/>
                                      </a:rPr>
                                      <m:t>𝑃</m:t>
                                    </m:r>
                                  </m:e>
                                  <m:sub>
                                    <m:r>
                                      <a:rPr lang="en-US" b="0" i="1" smtClean="0">
                                        <a:latin typeface="Cambria Math" panose="02040503050406030204" pitchFamily="18" charset="0"/>
                                      </a:rPr>
                                      <m:t>1,2</m:t>
                                    </m:r>
                                  </m:sub>
                                </m:sSub>
                                <m:r>
                                  <a:rPr lang="en-US" b="0" i="1" smtClean="0">
                                    <a:latin typeface="Cambria Math" panose="02040503050406030204" pitchFamily="18" charset="0"/>
                                  </a:rPr>
                                  <m:t> ×</m:t>
                                </m:r>
                                <m:sSub>
                                  <m:sSubPr>
                                    <m:ctrlPr>
                                      <a:rPr lang="en-US" b="0" i="1" smtClean="0"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en-US" b="0" i="1" smtClean="0">
                                        <a:latin typeface="Cambria Math" panose="02040503050406030204" pitchFamily="18" charset="0"/>
                                      </a:rPr>
                                      <m:t> </m:t>
                                    </m:r>
                                    <m:r>
                                      <a:rPr lang="en-US" b="0" i="1" smtClean="0">
                                        <a:latin typeface="Cambria Math" panose="02040503050406030204" pitchFamily="18" charset="0"/>
                                      </a:rPr>
                                      <m:t>𝑃</m:t>
                                    </m:r>
                                  </m:e>
                                  <m:sub>
                                    <m:r>
                                      <a:rPr lang="en-US" b="0" i="1" smtClean="0">
                                        <a:latin typeface="Cambria Math" panose="02040503050406030204" pitchFamily="18" charset="0"/>
                                      </a:rPr>
                                      <m:t>3−6</m:t>
                                    </m:r>
                                  </m:sub>
                                </m:sSub>
                              </m:oMath>
                            </m:oMathPara>
                          </a14:m>
                          <a:endParaRPr lang="en-GB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marL="0" marR="0" lvl="0" indent="0" algn="l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en-GB" sz="1800" kern="1200" dirty="0">
                              <a:solidFill>
                                <a:schemeClr val="tx1"/>
                              </a:solidFill>
                              <a:effectLst/>
                              <a:latin typeface="+mn-lt"/>
                              <a:ea typeface="+mn-ea"/>
                              <a:cs typeface="+mn-cs"/>
                            </a:rPr>
                            <a:t>2 loops, </a:t>
                          </a:r>
                          <a14:m>
                            <m:oMath xmlns:m="http://schemas.openxmlformats.org/officeDocument/2006/math">
                              <m:r>
                                <a:rPr lang="en-US" sz="1800" b="0" i="1" kern="1200" smtClean="0">
                                  <a:solidFill>
                                    <a:schemeClr val="tx1"/>
                                  </a:solidFill>
                                  <a:effectLst/>
                                  <a:latin typeface="Cambria Math" panose="02040503050406030204" pitchFamily="18" charset="0"/>
                                  <a:ea typeface="+mn-ea"/>
                                  <a:cs typeface="+mn-cs"/>
                                </a:rPr>
                                <m:t>𝑂</m:t>
                              </m:r>
                              <m:r>
                                <a:rPr lang="en-US" sz="1800" b="0" i="1" kern="1200" smtClean="0">
                                  <a:solidFill>
                                    <a:schemeClr val="tx1"/>
                                  </a:solidFill>
                                  <a:effectLst/>
                                  <a:latin typeface="Cambria Math" panose="02040503050406030204" pitchFamily="18" charset="0"/>
                                  <a:ea typeface="+mn-ea"/>
                                  <a:cs typeface="+mn-cs"/>
                                </a:rPr>
                                <m:t>(</m:t>
                              </m:r>
                              <m:r>
                                <a:rPr lang="en-US" sz="1800" b="0" i="1" kern="1200" smtClean="0">
                                  <a:solidFill>
                                    <a:schemeClr val="tx1"/>
                                  </a:solidFill>
                                  <a:effectLst/>
                                  <a:latin typeface="Cambria Math" panose="02040503050406030204" pitchFamily="18" charset="0"/>
                                  <a:ea typeface="+mn-ea"/>
                                  <a:cs typeface="+mn-cs"/>
                                </a:rPr>
                                <m:t>𝑧</m:t>
                              </m:r>
                              <m:r>
                                <a:rPr lang="en-US" sz="1800" b="0" i="1" kern="1200" smtClean="0">
                                  <a:solidFill>
                                    <a:schemeClr val="tx1"/>
                                  </a:solidFill>
                                  <a:effectLst/>
                                  <a:latin typeface="Cambria Math" panose="02040503050406030204" pitchFamily="18" charset="0"/>
                                  <a:ea typeface="+mn-ea"/>
                                  <a:cs typeface="+mn-cs"/>
                                </a:rPr>
                                <m:t>)</m:t>
                              </m:r>
                            </m:oMath>
                          </a14:m>
                          <a:endParaRPr lang="en-GB" dirty="0">
                            <a:effectLst/>
                          </a:endParaRP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algn="l"/>
                          <a:r>
                            <a:rPr lang="en-GB" dirty="0">
                              <a:solidFill>
                                <a:srgbClr val="A3107C"/>
                              </a:solidFill>
                            </a:rPr>
                            <a:t>3</a:t>
                          </a:r>
                          <a:r>
                            <a:rPr lang="en-GB" dirty="0"/>
                            <a:t> loops, </a:t>
                          </a:r>
                          <a14:m>
                            <m:oMath xmlns:m="http://schemas.openxmlformats.org/officeDocument/2006/math">
                              <m:r>
                                <a:rPr lang="en-US" sz="1800" b="0" i="1" kern="1200" smtClean="0">
                                  <a:solidFill>
                                    <a:srgbClr val="A3107C"/>
                                  </a:solidFill>
                                  <a:effectLst/>
                                  <a:latin typeface="Cambria Math" panose="02040503050406030204" pitchFamily="18" charset="0"/>
                                  <a:ea typeface="+mn-ea"/>
                                  <a:cs typeface="+mn-cs"/>
                                </a:rPr>
                                <m:t>𝑂</m:t>
                              </m:r>
                              <m:r>
                                <a:rPr lang="en-US" sz="1800" b="0" i="1" kern="1200" smtClean="0">
                                  <a:solidFill>
                                    <a:srgbClr val="A3107C"/>
                                  </a:solidFill>
                                  <a:effectLst/>
                                  <a:latin typeface="Cambria Math" panose="02040503050406030204" pitchFamily="18" charset="0"/>
                                  <a:ea typeface="+mn-ea"/>
                                  <a:cs typeface="+mn-cs"/>
                                </a:rPr>
                                <m:t>(</m:t>
                              </m:r>
                              <m:sSup>
                                <m:sSupPr>
                                  <m:ctrlPr>
                                    <a:rPr lang="en-US" sz="1800" b="0" i="1" kern="1200" smtClean="0">
                                      <a:solidFill>
                                        <a:srgbClr val="A3107C"/>
                                      </a:solidFill>
                                      <a:effectLst/>
                                      <a:latin typeface="Cambria Math" panose="02040503050406030204" pitchFamily="18" charset="0"/>
                                      <a:ea typeface="+mn-ea"/>
                                      <a:cs typeface="+mn-cs"/>
                                    </a:rPr>
                                  </m:ctrlPr>
                                </m:sSupPr>
                                <m:e>
                                  <m:r>
                                    <a:rPr lang="en-US" sz="1800" b="0" i="1" kern="1200" smtClean="0">
                                      <a:solidFill>
                                        <a:srgbClr val="A3107C"/>
                                      </a:solidFill>
                                      <a:effectLst/>
                                      <a:latin typeface="Cambria Math" panose="02040503050406030204" pitchFamily="18" charset="0"/>
                                      <a:ea typeface="+mn-ea"/>
                                      <a:cs typeface="+mn-cs"/>
                                    </a:rPr>
                                    <m:t>𝑧</m:t>
                                  </m:r>
                                </m:e>
                                <m:sup>
                                  <m:r>
                                    <a:rPr lang="en-US" sz="1800" b="0" i="1" kern="1200" smtClean="0">
                                      <a:solidFill>
                                        <a:srgbClr val="A3107C"/>
                                      </a:solidFill>
                                      <a:effectLst/>
                                      <a:latin typeface="Cambria Math" panose="02040503050406030204" pitchFamily="18" charset="0"/>
                                      <a:ea typeface="+mn-ea"/>
                                      <a:cs typeface="+mn-cs"/>
                                    </a:rPr>
                                    <m:t>10</m:t>
                                  </m:r>
                                </m:sup>
                              </m:sSup>
                              <m:r>
                                <a:rPr lang="en-US" sz="1800" b="0" i="1" kern="1200" smtClean="0">
                                  <a:solidFill>
                                    <a:srgbClr val="A3107C"/>
                                  </a:solidFill>
                                  <a:effectLst/>
                                  <a:latin typeface="Cambria Math" panose="02040503050406030204" pitchFamily="18" charset="0"/>
                                  <a:ea typeface="+mn-ea"/>
                                  <a:cs typeface="+mn-cs"/>
                                </a:rPr>
                                <m:t>)</m:t>
                              </m:r>
                            </m:oMath>
                          </a14:m>
                          <a:endParaRPr lang="en-GB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algn="l"/>
                          <a:endParaRPr lang="en-GB" dirty="0"/>
                        </a:p>
                      </a:txBody>
                      <a:tcPr anchor="ctr"/>
                    </a:tc>
                    <a:extLst>
                      <a:ext uri="{0D108BD9-81ED-4DB2-BD59-A6C34878D82A}">
                        <a16:rowId xmlns:a16="http://schemas.microsoft.com/office/drawing/2014/main" val="748111041"/>
                      </a:ext>
                    </a:extLst>
                  </a:tr>
                  <a:tr h="609966">
                    <a:tc>
                      <a:txBody>
                        <a:bodyPr/>
                        <a:lstStyle/>
                        <a:p>
                          <a:pPr algn="l"/>
                          <a14:m>
                            <m:oMathPara xmlns:m="http://schemas.openxmlformats.org/officeDocument/2006/math">
                              <m:oMathParaPr>
                                <m:jc m:val="left"/>
                              </m:oMathParaPr>
                              <m:oMath xmlns:m="http://schemas.openxmlformats.org/officeDocument/2006/math">
                                <m:sSub>
                                  <m:sSubPr>
                                    <m:ctrlPr>
                                      <a:rPr lang="en-US" b="0" i="1" smtClean="0"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en-US" b="0" i="1" smtClean="0">
                                        <a:latin typeface="Cambria Math" panose="02040503050406030204" pitchFamily="18" charset="0"/>
                                      </a:rPr>
                                      <m:t>𝑃</m:t>
                                    </m:r>
                                  </m:e>
                                  <m:sub>
                                    <m:r>
                                      <a:rPr lang="en-US" b="0" i="1" smtClean="0">
                                        <a:latin typeface="Cambria Math" panose="02040503050406030204" pitchFamily="18" charset="0"/>
                                      </a:rPr>
                                      <m:t>3−6</m:t>
                                    </m:r>
                                  </m:sub>
                                </m:sSub>
                                <m:r>
                                  <a:rPr lang="en-US" b="0" i="1" smtClean="0">
                                    <a:latin typeface="Cambria Math" panose="02040503050406030204" pitchFamily="18" charset="0"/>
                                  </a:rPr>
                                  <m:t> ×</m:t>
                                </m:r>
                                <m:sSub>
                                  <m:sSubPr>
                                    <m:ctrlPr>
                                      <a:rPr lang="en-US" b="0" i="1" smtClean="0"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en-US" b="0" i="1" smtClean="0">
                                        <a:latin typeface="Cambria Math" panose="02040503050406030204" pitchFamily="18" charset="0"/>
                                      </a:rPr>
                                      <m:t> </m:t>
                                    </m:r>
                                    <m:r>
                                      <a:rPr lang="en-US" b="0" i="1" smtClean="0">
                                        <a:latin typeface="Cambria Math" panose="02040503050406030204" pitchFamily="18" charset="0"/>
                                      </a:rPr>
                                      <m:t>𝑃</m:t>
                                    </m:r>
                                  </m:e>
                                  <m:sub>
                                    <m:r>
                                      <a:rPr lang="en-US" b="0" i="1" smtClean="0">
                                        <a:latin typeface="Cambria Math" panose="02040503050406030204" pitchFamily="18" charset="0"/>
                                      </a:rPr>
                                      <m:t>3−6</m:t>
                                    </m:r>
                                  </m:sub>
                                </m:sSub>
                              </m:oMath>
                            </m:oMathPara>
                          </a14:m>
                          <a:endParaRPr lang="en-GB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algn="l"/>
                          <a:r>
                            <a:rPr lang="en-GB" sz="1800" kern="1200" dirty="0">
                              <a:solidFill>
                                <a:schemeClr val="tx1"/>
                              </a:solidFill>
                              <a:effectLst/>
                              <a:latin typeface="+mn-lt"/>
                              <a:ea typeface="+mn-ea"/>
                              <a:cs typeface="+mn-cs"/>
                            </a:rPr>
                            <a:t>2 loops, </a:t>
                          </a:r>
                          <a14:m>
                            <m:oMath xmlns:m="http://schemas.openxmlformats.org/officeDocument/2006/math">
                              <m:r>
                                <a:rPr lang="en-US" sz="1800" b="0" i="1" kern="1200" smtClean="0">
                                  <a:solidFill>
                                    <a:schemeClr val="tx1"/>
                                  </a:solidFill>
                                  <a:effectLst/>
                                  <a:latin typeface="Cambria Math" panose="02040503050406030204" pitchFamily="18" charset="0"/>
                                  <a:ea typeface="+mn-ea"/>
                                  <a:cs typeface="+mn-cs"/>
                                </a:rPr>
                                <m:t>𝑂</m:t>
                              </m:r>
                              <m:r>
                                <a:rPr lang="en-US" sz="1800" b="0" i="1" kern="1200" smtClean="0">
                                  <a:solidFill>
                                    <a:schemeClr val="tx1"/>
                                  </a:solidFill>
                                  <a:effectLst/>
                                  <a:latin typeface="Cambria Math" panose="02040503050406030204" pitchFamily="18" charset="0"/>
                                  <a:ea typeface="+mn-ea"/>
                                  <a:cs typeface="+mn-cs"/>
                                </a:rPr>
                                <m:t>(</m:t>
                              </m:r>
                              <m:r>
                                <a:rPr lang="en-US" sz="1800" b="0" i="1" kern="1200" smtClean="0">
                                  <a:solidFill>
                                    <a:schemeClr val="tx1"/>
                                  </a:solidFill>
                                  <a:effectLst/>
                                  <a:latin typeface="Cambria Math" panose="02040503050406030204" pitchFamily="18" charset="0"/>
                                  <a:ea typeface="+mn-ea"/>
                                  <a:cs typeface="+mn-cs"/>
                                </a:rPr>
                                <m:t>𝑧</m:t>
                              </m:r>
                              <m:r>
                                <a:rPr lang="en-US" sz="1800" b="0" i="1" kern="1200" smtClean="0">
                                  <a:solidFill>
                                    <a:schemeClr val="tx1"/>
                                  </a:solidFill>
                                  <a:effectLst/>
                                  <a:latin typeface="Cambria Math" panose="02040503050406030204" pitchFamily="18" charset="0"/>
                                  <a:ea typeface="+mn-ea"/>
                                  <a:cs typeface="+mn-cs"/>
                                </a:rPr>
                                <m:t>)</m:t>
                              </m:r>
                            </m:oMath>
                          </a14:m>
                          <a:endParaRPr lang="en-GB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marL="0" marR="0" lvl="0" indent="0" algn="l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en-GB" dirty="0">
                              <a:solidFill>
                                <a:srgbClr val="A3107C"/>
                              </a:solidFill>
                            </a:rPr>
                            <a:t>3</a:t>
                          </a:r>
                          <a:r>
                            <a:rPr lang="en-GB" dirty="0"/>
                            <a:t> loops, </a:t>
                          </a:r>
                          <a14:m>
                            <m:oMath xmlns:m="http://schemas.openxmlformats.org/officeDocument/2006/math">
                              <m:r>
                                <a:rPr lang="en-US" sz="1800" b="0" i="1" kern="1200" smtClean="0">
                                  <a:solidFill>
                                    <a:srgbClr val="A3107C"/>
                                  </a:solidFill>
                                  <a:effectLst/>
                                  <a:latin typeface="Cambria Math" panose="02040503050406030204" pitchFamily="18" charset="0"/>
                                  <a:ea typeface="+mn-ea"/>
                                  <a:cs typeface="+mn-cs"/>
                                </a:rPr>
                                <m:t>𝑂</m:t>
                              </m:r>
                              <m:r>
                                <a:rPr lang="en-US" sz="1800" b="0" i="1" kern="1200" smtClean="0">
                                  <a:solidFill>
                                    <a:srgbClr val="A3107C"/>
                                  </a:solidFill>
                                  <a:effectLst/>
                                  <a:latin typeface="Cambria Math" panose="02040503050406030204" pitchFamily="18" charset="0"/>
                                  <a:ea typeface="+mn-ea"/>
                                  <a:cs typeface="+mn-cs"/>
                                </a:rPr>
                                <m:t>(</m:t>
                              </m:r>
                              <m:sSup>
                                <m:sSupPr>
                                  <m:ctrlPr>
                                    <a:rPr lang="en-US" sz="1800" b="0" i="1" kern="1200" smtClean="0">
                                      <a:solidFill>
                                        <a:srgbClr val="A3107C"/>
                                      </a:solidFill>
                                      <a:effectLst/>
                                      <a:latin typeface="Cambria Math" panose="02040503050406030204" pitchFamily="18" charset="0"/>
                                      <a:ea typeface="+mn-ea"/>
                                      <a:cs typeface="+mn-cs"/>
                                    </a:rPr>
                                  </m:ctrlPr>
                                </m:sSupPr>
                                <m:e>
                                  <m:r>
                                    <a:rPr lang="en-US" sz="1800" b="0" i="1" kern="1200" smtClean="0">
                                      <a:solidFill>
                                        <a:srgbClr val="A3107C"/>
                                      </a:solidFill>
                                      <a:effectLst/>
                                      <a:latin typeface="Cambria Math" panose="02040503050406030204" pitchFamily="18" charset="0"/>
                                      <a:ea typeface="+mn-ea"/>
                                      <a:cs typeface="+mn-cs"/>
                                    </a:rPr>
                                    <m:t>𝑧</m:t>
                                  </m:r>
                                </m:e>
                                <m:sup>
                                  <m:r>
                                    <a:rPr lang="en-US" sz="1800" b="0" i="1" kern="1200" smtClean="0">
                                      <a:solidFill>
                                        <a:srgbClr val="A3107C"/>
                                      </a:solidFill>
                                      <a:effectLst/>
                                      <a:latin typeface="Cambria Math" panose="02040503050406030204" pitchFamily="18" charset="0"/>
                                      <a:ea typeface="+mn-ea"/>
                                      <a:cs typeface="+mn-cs"/>
                                    </a:rPr>
                                    <m:t>10</m:t>
                                  </m:r>
                                </m:sup>
                              </m:sSup>
                              <m:r>
                                <a:rPr lang="en-US" sz="1800" b="0" i="1" kern="1200" smtClean="0">
                                  <a:solidFill>
                                    <a:srgbClr val="A3107C"/>
                                  </a:solidFill>
                                  <a:effectLst/>
                                  <a:latin typeface="Cambria Math" panose="02040503050406030204" pitchFamily="18" charset="0"/>
                                  <a:ea typeface="+mn-ea"/>
                                  <a:cs typeface="+mn-cs"/>
                                </a:rPr>
                                <m:t>)</m:t>
                              </m:r>
                            </m:oMath>
                          </a14:m>
                          <a:endParaRPr lang="en-GB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marL="0" marR="0" lvl="0" indent="0" algn="l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endParaRPr lang="en-GB" dirty="0"/>
                        </a:p>
                      </a:txBody>
                      <a:tcPr anchor="ctr"/>
                    </a:tc>
                    <a:extLst>
                      <a:ext uri="{0D108BD9-81ED-4DB2-BD59-A6C34878D82A}">
                        <a16:rowId xmlns:a16="http://schemas.microsoft.com/office/drawing/2014/main" val="2128432006"/>
                      </a:ext>
                    </a:extLst>
                  </a:tr>
                  <a:tr h="609966">
                    <a:tc>
                      <a:txBody>
                        <a:bodyPr/>
                        <a:lstStyle/>
                        <a:p>
                          <a:pPr algn="l"/>
                          <a14:m>
                            <m:oMathPara xmlns:m="http://schemas.openxmlformats.org/officeDocument/2006/math">
                              <m:oMathParaPr>
                                <m:jc m:val="left"/>
                              </m:oMathParaPr>
                              <m:oMath xmlns:m="http://schemas.openxmlformats.org/officeDocument/2006/math">
                                <m:sSub>
                                  <m:sSubPr>
                                    <m:ctrlPr>
                                      <a:rPr lang="en-US" b="0" i="1" smtClean="0"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en-US" b="0" i="1" smtClean="0">
                                        <a:latin typeface="Cambria Math" panose="02040503050406030204" pitchFamily="18" charset="0"/>
                                      </a:rPr>
                                      <m:t>𝑃</m:t>
                                    </m:r>
                                  </m:e>
                                  <m:sub>
                                    <m:r>
                                      <a:rPr lang="en-US" b="0" i="1" smtClean="0">
                                        <a:latin typeface="Cambria Math" panose="02040503050406030204" pitchFamily="18" charset="0"/>
                                      </a:rPr>
                                      <m:t>1,2</m:t>
                                    </m:r>
                                  </m:sub>
                                </m:sSub>
                                <m:r>
                                  <a:rPr lang="en-US" b="0" i="1" smtClean="0">
                                    <a:latin typeface="Cambria Math" panose="02040503050406030204" pitchFamily="18" charset="0"/>
                                  </a:rPr>
                                  <m:t> × </m:t>
                                </m:r>
                                <m:sSub>
                                  <m:sSubPr>
                                    <m:ctrlPr>
                                      <a:rPr lang="en-US" b="0" i="1" smtClean="0"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en-US" b="0" i="1" smtClean="0">
                                        <a:latin typeface="Cambria Math" panose="02040503050406030204" pitchFamily="18" charset="0"/>
                                      </a:rPr>
                                      <m:t>𝑃</m:t>
                                    </m:r>
                                  </m:e>
                                  <m:sub>
                                    <m:r>
                                      <a:rPr lang="en-US" b="0" i="1" smtClean="0">
                                        <a:latin typeface="Cambria Math" panose="02040503050406030204" pitchFamily="18" charset="0"/>
                                      </a:rPr>
                                      <m:t>8</m:t>
                                    </m:r>
                                  </m:sub>
                                </m:sSub>
                              </m:oMath>
                            </m:oMathPara>
                          </a14:m>
                          <a:endParaRPr lang="en-GB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marL="0" marR="0" lvl="0" indent="0" algn="l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en-GB" sz="1800" kern="1200" dirty="0">
                              <a:solidFill>
                                <a:schemeClr val="tx1"/>
                              </a:solidFill>
                              <a:effectLst/>
                              <a:latin typeface="+mn-lt"/>
                              <a:ea typeface="+mn-ea"/>
                              <a:cs typeface="+mn-cs"/>
                            </a:rPr>
                            <a:t>2 loops, </a:t>
                          </a:r>
                          <a14:m>
                            <m:oMath xmlns:m="http://schemas.openxmlformats.org/officeDocument/2006/math">
                              <m:r>
                                <a:rPr lang="en-US" sz="1800" b="0" i="1" kern="1200" smtClean="0">
                                  <a:solidFill>
                                    <a:schemeClr val="tx1"/>
                                  </a:solidFill>
                                  <a:effectLst/>
                                  <a:latin typeface="Cambria Math" panose="02040503050406030204" pitchFamily="18" charset="0"/>
                                  <a:ea typeface="+mn-ea"/>
                                  <a:cs typeface="+mn-cs"/>
                                </a:rPr>
                                <m:t>𝑂</m:t>
                              </m:r>
                              <m:r>
                                <a:rPr lang="en-US" sz="1800" b="0" i="1" kern="1200" smtClean="0">
                                  <a:solidFill>
                                    <a:schemeClr val="tx1"/>
                                  </a:solidFill>
                                  <a:effectLst/>
                                  <a:latin typeface="Cambria Math" panose="02040503050406030204" pitchFamily="18" charset="0"/>
                                  <a:ea typeface="+mn-ea"/>
                                  <a:cs typeface="+mn-cs"/>
                                </a:rPr>
                                <m:t>(</m:t>
                              </m:r>
                              <m:r>
                                <a:rPr lang="en-US" sz="1800" b="0" i="1" kern="1200" smtClean="0">
                                  <a:solidFill>
                                    <a:schemeClr val="tx1"/>
                                  </a:solidFill>
                                  <a:effectLst/>
                                  <a:latin typeface="Cambria Math" panose="02040503050406030204" pitchFamily="18" charset="0"/>
                                  <a:ea typeface="+mn-ea"/>
                                  <a:cs typeface="+mn-cs"/>
                                </a:rPr>
                                <m:t>𝑧</m:t>
                              </m:r>
                              <m:r>
                                <a:rPr lang="en-US" sz="1800" b="0" i="1" kern="1200" smtClean="0">
                                  <a:solidFill>
                                    <a:schemeClr val="tx1"/>
                                  </a:solidFill>
                                  <a:effectLst/>
                                  <a:latin typeface="Cambria Math" panose="02040503050406030204" pitchFamily="18" charset="0"/>
                                  <a:ea typeface="+mn-ea"/>
                                  <a:cs typeface="+mn-cs"/>
                                </a:rPr>
                                <m:t>)</m:t>
                              </m:r>
                            </m:oMath>
                          </a14:m>
                          <a:endParaRPr lang="en-GB" dirty="0">
                            <a:effectLst/>
                          </a:endParaRP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marL="0" marR="0" lvl="0" indent="0" algn="l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en-GB" dirty="0">
                              <a:solidFill>
                                <a:schemeClr val="tx1"/>
                              </a:solidFill>
                            </a:rPr>
                            <a:t>2</a:t>
                          </a:r>
                          <a:r>
                            <a:rPr lang="en-GB"/>
                            <a:t> </a:t>
                          </a:r>
                          <a:r>
                            <a:rPr lang="en-GB" dirty="0"/>
                            <a:t>loops,</a:t>
                          </a:r>
                          <a:r>
                            <a:rPr lang="en-GB" dirty="0">
                              <a:solidFill>
                                <a:srgbClr val="A3107C"/>
                              </a:solidFill>
                            </a:rPr>
                            <a:t> </a:t>
                          </a:r>
                          <a14:m>
                            <m:oMath xmlns:m="http://schemas.openxmlformats.org/officeDocument/2006/math">
                              <m:r>
                                <a:rPr lang="en-US" sz="1800" b="0" i="1" kern="1200" smtClean="0">
                                  <a:solidFill>
                                    <a:srgbClr val="A3107C"/>
                                  </a:solidFill>
                                  <a:effectLst/>
                                  <a:latin typeface="Cambria Math" panose="02040503050406030204" pitchFamily="18" charset="0"/>
                                  <a:ea typeface="+mn-ea"/>
                                  <a:cs typeface="+mn-cs"/>
                                </a:rPr>
                                <m:t>𝑂</m:t>
                              </m:r>
                              <m:r>
                                <a:rPr lang="en-US" sz="1800" b="0" i="1" kern="1200" smtClean="0">
                                  <a:solidFill>
                                    <a:srgbClr val="A3107C"/>
                                  </a:solidFill>
                                  <a:effectLst/>
                                  <a:latin typeface="Cambria Math" panose="02040503050406030204" pitchFamily="18" charset="0"/>
                                  <a:ea typeface="+mn-ea"/>
                                  <a:cs typeface="+mn-cs"/>
                                </a:rPr>
                                <m:t>(</m:t>
                              </m:r>
                              <m:sSup>
                                <m:sSupPr>
                                  <m:ctrlPr>
                                    <a:rPr lang="en-US" sz="1800" b="0" i="1" kern="1200" smtClean="0">
                                      <a:solidFill>
                                        <a:srgbClr val="A3107C"/>
                                      </a:solidFill>
                                      <a:effectLst/>
                                      <a:latin typeface="Cambria Math" panose="02040503050406030204" pitchFamily="18" charset="0"/>
                                      <a:ea typeface="+mn-ea"/>
                                      <a:cs typeface="+mn-cs"/>
                                    </a:rPr>
                                  </m:ctrlPr>
                                </m:sSupPr>
                                <m:e>
                                  <m:r>
                                    <a:rPr lang="en-US" sz="1800" b="0" i="1" kern="1200" smtClean="0">
                                      <a:solidFill>
                                        <a:srgbClr val="A3107C"/>
                                      </a:solidFill>
                                      <a:effectLst/>
                                      <a:latin typeface="Cambria Math" panose="02040503050406030204" pitchFamily="18" charset="0"/>
                                      <a:ea typeface="+mn-ea"/>
                                      <a:cs typeface="+mn-cs"/>
                                    </a:rPr>
                                    <m:t>𝑧</m:t>
                                  </m:r>
                                </m:e>
                                <m:sup>
                                  <m:r>
                                    <a:rPr lang="en-US" sz="1800" b="0" i="1" kern="1200" smtClean="0">
                                      <a:solidFill>
                                        <a:srgbClr val="A3107C"/>
                                      </a:solidFill>
                                      <a:effectLst/>
                                      <a:latin typeface="Cambria Math" panose="02040503050406030204" pitchFamily="18" charset="0"/>
                                      <a:ea typeface="+mn-ea"/>
                                      <a:cs typeface="+mn-cs"/>
                                    </a:rPr>
                                    <m:t>10</m:t>
                                  </m:r>
                                </m:sup>
                              </m:sSup>
                              <m:r>
                                <a:rPr lang="en-US" sz="1800" b="0" i="1" kern="1200" smtClean="0">
                                  <a:solidFill>
                                    <a:srgbClr val="A3107C"/>
                                  </a:solidFill>
                                  <a:effectLst/>
                                  <a:latin typeface="Cambria Math" panose="02040503050406030204" pitchFamily="18" charset="0"/>
                                  <a:ea typeface="+mn-ea"/>
                                  <a:cs typeface="+mn-cs"/>
                                </a:rPr>
                                <m:t>)</m:t>
                              </m:r>
                            </m:oMath>
                          </a14:m>
                          <a:endParaRPr lang="en-GB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marL="0" marR="0" lvl="0" indent="0" algn="l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endParaRPr lang="en-GB" dirty="0"/>
                        </a:p>
                      </a:txBody>
                      <a:tcPr anchor="ctr"/>
                    </a:tc>
                    <a:extLst>
                      <a:ext uri="{0D108BD9-81ED-4DB2-BD59-A6C34878D82A}">
                        <a16:rowId xmlns:a16="http://schemas.microsoft.com/office/drawing/2014/main" val="2649548185"/>
                      </a:ext>
                    </a:extLst>
                  </a:tr>
                  <a:tr h="609966">
                    <a:tc>
                      <a:txBody>
                        <a:bodyPr/>
                        <a:lstStyle/>
                        <a:p>
                          <a:pPr algn="l"/>
                          <a14:m>
                            <m:oMathPara xmlns:m="http://schemas.openxmlformats.org/officeDocument/2006/math">
                              <m:oMathParaPr>
                                <m:jc m:val="left"/>
                              </m:oMathParaPr>
                              <m:oMath xmlns:m="http://schemas.openxmlformats.org/officeDocument/2006/math">
                                <m:sSub>
                                  <m:sSubPr>
                                    <m:ctrlPr>
                                      <a:rPr lang="en-US" b="0" i="1" smtClean="0"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en-US" b="0" i="1" smtClean="0">
                                        <a:latin typeface="Cambria Math" panose="02040503050406030204" pitchFamily="18" charset="0"/>
                                      </a:rPr>
                                      <m:t>𝑃</m:t>
                                    </m:r>
                                  </m:e>
                                  <m:sub>
                                    <m:r>
                                      <a:rPr lang="en-US" b="0" i="1" smtClean="0">
                                        <a:latin typeface="Cambria Math" panose="02040503050406030204" pitchFamily="18" charset="0"/>
                                      </a:rPr>
                                      <m:t>3−6</m:t>
                                    </m:r>
                                  </m:sub>
                                </m:sSub>
                                <m:r>
                                  <a:rPr lang="en-US" b="0" i="1" smtClean="0">
                                    <a:latin typeface="Cambria Math" panose="02040503050406030204" pitchFamily="18" charset="0"/>
                                  </a:rPr>
                                  <m:t> ×</m:t>
                                </m:r>
                                <m:sSub>
                                  <m:sSubPr>
                                    <m:ctrlPr>
                                      <a:rPr lang="en-US" b="0" i="1" smtClean="0"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en-US" b="0" i="1" smtClean="0">
                                        <a:latin typeface="Cambria Math" panose="02040503050406030204" pitchFamily="18" charset="0"/>
                                      </a:rPr>
                                      <m:t> </m:t>
                                    </m:r>
                                    <m:r>
                                      <a:rPr lang="en-US" b="0" i="1" smtClean="0">
                                        <a:latin typeface="Cambria Math" panose="02040503050406030204" pitchFamily="18" charset="0"/>
                                      </a:rPr>
                                      <m:t>𝑃</m:t>
                                    </m:r>
                                  </m:e>
                                  <m:sub>
                                    <m:r>
                                      <a:rPr lang="en-US" b="0" i="1" smtClean="0">
                                        <a:latin typeface="Cambria Math" panose="02040503050406030204" pitchFamily="18" charset="0"/>
                                      </a:rPr>
                                      <m:t>8</m:t>
                                    </m:r>
                                  </m:sub>
                                </m:sSub>
                              </m:oMath>
                            </m:oMathPara>
                          </a14:m>
                          <a:endParaRPr lang="en-GB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algn="l"/>
                          <a:r>
                            <a:rPr lang="en-GB" sz="1800" kern="1200" dirty="0">
                              <a:solidFill>
                                <a:schemeClr val="tx1"/>
                              </a:solidFill>
                              <a:effectLst/>
                              <a:latin typeface="+mn-lt"/>
                              <a:ea typeface="+mn-ea"/>
                              <a:cs typeface="+mn-cs"/>
                            </a:rPr>
                            <a:t>2 loops, </a:t>
                          </a:r>
                          <a14:m>
                            <m:oMath xmlns:m="http://schemas.openxmlformats.org/officeDocument/2006/math">
                              <m:r>
                                <a:rPr lang="en-US" sz="1800" b="0" i="1" kern="1200" smtClean="0">
                                  <a:solidFill>
                                    <a:schemeClr val="tx1"/>
                                  </a:solidFill>
                                  <a:effectLst/>
                                  <a:latin typeface="Cambria Math" panose="02040503050406030204" pitchFamily="18" charset="0"/>
                                  <a:ea typeface="+mn-ea"/>
                                  <a:cs typeface="+mn-cs"/>
                                </a:rPr>
                                <m:t>𝑂</m:t>
                              </m:r>
                              <m:r>
                                <a:rPr lang="en-US" sz="1800" b="0" i="1" kern="1200" smtClean="0">
                                  <a:solidFill>
                                    <a:schemeClr val="tx1"/>
                                  </a:solidFill>
                                  <a:effectLst/>
                                  <a:latin typeface="Cambria Math" panose="02040503050406030204" pitchFamily="18" charset="0"/>
                                  <a:ea typeface="+mn-ea"/>
                                  <a:cs typeface="+mn-cs"/>
                                </a:rPr>
                                <m:t>(</m:t>
                              </m:r>
                              <m:r>
                                <a:rPr lang="en-US" sz="1800" b="0" i="1" kern="1200" smtClean="0">
                                  <a:solidFill>
                                    <a:schemeClr val="tx1"/>
                                  </a:solidFill>
                                  <a:effectLst/>
                                  <a:latin typeface="Cambria Math" panose="02040503050406030204" pitchFamily="18" charset="0"/>
                                  <a:ea typeface="+mn-ea"/>
                                  <a:cs typeface="+mn-cs"/>
                                </a:rPr>
                                <m:t>𝑧</m:t>
                              </m:r>
                              <m:r>
                                <a:rPr lang="en-US" sz="1800" b="0" i="1" kern="1200" smtClean="0">
                                  <a:solidFill>
                                    <a:schemeClr val="tx1"/>
                                  </a:solidFill>
                                  <a:effectLst/>
                                  <a:latin typeface="Cambria Math" panose="02040503050406030204" pitchFamily="18" charset="0"/>
                                  <a:ea typeface="+mn-ea"/>
                                  <a:cs typeface="+mn-cs"/>
                                </a:rPr>
                                <m:t>)</m:t>
                              </m:r>
                            </m:oMath>
                          </a14:m>
                          <a:endParaRPr lang="en-GB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marL="0" marR="0" lvl="0" indent="0" algn="l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en-GB" dirty="0">
                              <a:solidFill>
                                <a:schemeClr val="tx1"/>
                              </a:solidFill>
                            </a:rPr>
                            <a:t>2</a:t>
                          </a:r>
                          <a:r>
                            <a:rPr lang="en-GB" dirty="0"/>
                            <a:t> loops,</a:t>
                          </a:r>
                          <a:r>
                            <a:rPr lang="en-GB" dirty="0">
                              <a:solidFill>
                                <a:schemeClr val="accent1"/>
                              </a:solidFill>
                            </a:rPr>
                            <a:t> </a:t>
                          </a:r>
                          <a14:m>
                            <m:oMath xmlns:m="http://schemas.openxmlformats.org/officeDocument/2006/math">
                              <m:r>
                                <a:rPr lang="en-US" sz="1800" b="0" i="1" kern="1200" smtClean="0">
                                  <a:solidFill>
                                    <a:srgbClr val="A3107C"/>
                                  </a:solidFill>
                                  <a:effectLst/>
                                  <a:latin typeface="Cambria Math" panose="02040503050406030204" pitchFamily="18" charset="0"/>
                                  <a:ea typeface="+mn-ea"/>
                                  <a:cs typeface="+mn-cs"/>
                                </a:rPr>
                                <m:t>𝑂</m:t>
                              </m:r>
                              <m:r>
                                <a:rPr lang="en-US" sz="1800" b="0" i="1" kern="1200" smtClean="0">
                                  <a:solidFill>
                                    <a:srgbClr val="A3107C"/>
                                  </a:solidFill>
                                  <a:effectLst/>
                                  <a:latin typeface="Cambria Math" panose="02040503050406030204" pitchFamily="18" charset="0"/>
                                  <a:ea typeface="+mn-ea"/>
                                  <a:cs typeface="+mn-cs"/>
                                </a:rPr>
                                <m:t>(</m:t>
                              </m:r>
                              <m:sSup>
                                <m:sSupPr>
                                  <m:ctrlPr>
                                    <a:rPr lang="en-US" sz="1800" b="0" i="1" kern="1200" smtClean="0">
                                      <a:solidFill>
                                        <a:srgbClr val="A3107C"/>
                                      </a:solidFill>
                                      <a:effectLst/>
                                      <a:latin typeface="Cambria Math" panose="02040503050406030204" pitchFamily="18" charset="0"/>
                                      <a:ea typeface="+mn-ea"/>
                                      <a:cs typeface="+mn-cs"/>
                                    </a:rPr>
                                  </m:ctrlPr>
                                </m:sSupPr>
                                <m:e>
                                  <m:r>
                                    <a:rPr lang="en-US" sz="1800" b="0" i="1" kern="1200" smtClean="0">
                                      <a:solidFill>
                                        <a:srgbClr val="A3107C"/>
                                      </a:solidFill>
                                      <a:effectLst/>
                                      <a:latin typeface="Cambria Math" panose="02040503050406030204" pitchFamily="18" charset="0"/>
                                      <a:ea typeface="+mn-ea"/>
                                      <a:cs typeface="+mn-cs"/>
                                    </a:rPr>
                                    <m:t>𝑧</m:t>
                                  </m:r>
                                </m:e>
                                <m:sup>
                                  <m:r>
                                    <a:rPr lang="en-US" sz="1800" b="0" i="1" kern="1200" smtClean="0">
                                      <a:solidFill>
                                        <a:srgbClr val="A3107C"/>
                                      </a:solidFill>
                                      <a:effectLst/>
                                      <a:latin typeface="Cambria Math" panose="02040503050406030204" pitchFamily="18" charset="0"/>
                                      <a:ea typeface="+mn-ea"/>
                                      <a:cs typeface="+mn-cs"/>
                                    </a:rPr>
                                    <m:t>10</m:t>
                                  </m:r>
                                </m:sup>
                              </m:sSup>
                              <m:r>
                                <a:rPr lang="en-US" sz="1800" b="0" i="1" kern="1200" smtClean="0">
                                  <a:solidFill>
                                    <a:srgbClr val="A3107C"/>
                                  </a:solidFill>
                                  <a:effectLst/>
                                  <a:latin typeface="Cambria Math" panose="02040503050406030204" pitchFamily="18" charset="0"/>
                                  <a:ea typeface="+mn-ea"/>
                                  <a:cs typeface="+mn-cs"/>
                                </a:rPr>
                                <m:t>)</m:t>
                              </m:r>
                            </m:oMath>
                          </a14:m>
                          <a:endParaRPr lang="en-GB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marL="0" marR="0" lvl="0" indent="0" algn="l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endParaRPr lang="en-GB" dirty="0"/>
                        </a:p>
                      </a:txBody>
                      <a:tcPr anchor="ctr"/>
                    </a:tc>
                    <a:extLst>
                      <a:ext uri="{0D108BD9-81ED-4DB2-BD59-A6C34878D82A}">
                        <a16:rowId xmlns:a16="http://schemas.microsoft.com/office/drawing/2014/main" val="295868212"/>
                      </a:ext>
                    </a:extLst>
                  </a:tr>
                  <a:tr h="609966">
                    <a:tc>
                      <a:txBody>
                        <a:bodyPr/>
                        <a:lstStyle/>
                        <a:p>
                          <a:pPr algn="l"/>
                          <a14:m>
                            <m:oMathPara xmlns:m="http://schemas.openxmlformats.org/officeDocument/2006/math">
                              <m:oMathParaPr>
                                <m:jc m:val="left"/>
                              </m:oMathParaPr>
                              <m:oMath xmlns:m="http://schemas.openxmlformats.org/officeDocument/2006/math">
                                <m:sSub>
                                  <m:sSubPr>
                                    <m:ctrlPr>
                                      <a:rPr lang="en-US" b="0" i="1" smtClean="0"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en-US" b="0" i="1" smtClean="0">
                                        <a:latin typeface="Cambria Math" panose="02040503050406030204" pitchFamily="18" charset="0"/>
                                      </a:rPr>
                                      <m:t>𝑃</m:t>
                                    </m:r>
                                  </m:e>
                                  <m:sub>
                                    <m:r>
                                      <a:rPr lang="en-US" b="0" i="1" smtClean="0">
                                        <a:latin typeface="Cambria Math" panose="02040503050406030204" pitchFamily="18" charset="0"/>
                                      </a:rPr>
                                      <m:t>8</m:t>
                                    </m:r>
                                  </m:sub>
                                </m:sSub>
                                <m:r>
                                  <a:rPr lang="en-US" b="0" i="1" smtClean="0">
                                    <a:latin typeface="Cambria Math" panose="02040503050406030204" pitchFamily="18" charset="0"/>
                                  </a:rPr>
                                  <m:t> × </m:t>
                                </m:r>
                                <m:sSub>
                                  <m:sSubPr>
                                    <m:ctrlPr>
                                      <a:rPr lang="en-US" b="0" i="1" smtClean="0"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en-US" b="0" i="1" smtClean="0">
                                        <a:latin typeface="Cambria Math" panose="02040503050406030204" pitchFamily="18" charset="0"/>
                                      </a:rPr>
                                      <m:t>𝑃</m:t>
                                    </m:r>
                                  </m:e>
                                  <m:sub>
                                    <m:r>
                                      <a:rPr lang="en-US" b="0" i="1" smtClean="0">
                                        <a:latin typeface="Cambria Math" panose="02040503050406030204" pitchFamily="18" charset="0"/>
                                      </a:rPr>
                                      <m:t>8</m:t>
                                    </m:r>
                                  </m:sub>
                                </m:sSub>
                              </m:oMath>
                            </m:oMathPara>
                          </a14:m>
                          <a:endParaRPr lang="en-GB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algn="l"/>
                          <a:r>
                            <a:rPr lang="en-GB" sz="1800" kern="1200" dirty="0">
                              <a:solidFill>
                                <a:schemeClr val="tx1"/>
                              </a:solidFill>
                              <a:effectLst/>
                              <a:latin typeface="+mn-lt"/>
                              <a:ea typeface="+mn-ea"/>
                              <a:cs typeface="+mn-cs"/>
                            </a:rPr>
                            <a:t>2 loops, </a:t>
                          </a:r>
                          <a14:m>
                            <m:oMath xmlns:m="http://schemas.openxmlformats.org/officeDocument/2006/math">
                              <m:r>
                                <a:rPr lang="en-US" sz="1800" b="0" i="1" kern="1200" smtClean="0">
                                  <a:solidFill>
                                    <a:schemeClr val="tx1"/>
                                  </a:solidFill>
                                  <a:effectLst/>
                                  <a:latin typeface="Cambria Math" panose="02040503050406030204" pitchFamily="18" charset="0"/>
                                  <a:ea typeface="+mn-ea"/>
                                  <a:cs typeface="+mn-cs"/>
                                </a:rPr>
                                <m:t>𝑂</m:t>
                              </m:r>
                              <m:r>
                                <a:rPr lang="en-US" sz="1800" b="0" i="1" kern="1200" smtClean="0">
                                  <a:solidFill>
                                    <a:schemeClr val="tx1"/>
                                  </a:solidFill>
                                  <a:effectLst/>
                                  <a:latin typeface="Cambria Math" panose="02040503050406030204" pitchFamily="18" charset="0"/>
                                  <a:ea typeface="+mn-ea"/>
                                  <a:cs typeface="+mn-cs"/>
                                </a:rPr>
                                <m:t>(</m:t>
                              </m:r>
                              <m:r>
                                <a:rPr lang="en-US" sz="1800" b="0" i="1" kern="1200" smtClean="0">
                                  <a:solidFill>
                                    <a:schemeClr val="tx1"/>
                                  </a:solidFill>
                                  <a:effectLst/>
                                  <a:latin typeface="Cambria Math" panose="02040503050406030204" pitchFamily="18" charset="0"/>
                                  <a:ea typeface="+mn-ea"/>
                                  <a:cs typeface="+mn-cs"/>
                                </a:rPr>
                                <m:t>𝑧</m:t>
                              </m:r>
                              <m:r>
                                <a:rPr lang="en-US" sz="1800" b="0" i="1" kern="1200" smtClean="0">
                                  <a:solidFill>
                                    <a:schemeClr val="tx1"/>
                                  </a:solidFill>
                                  <a:effectLst/>
                                  <a:latin typeface="Cambria Math" panose="02040503050406030204" pitchFamily="18" charset="0"/>
                                  <a:ea typeface="+mn-ea"/>
                                  <a:cs typeface="+mn-cs"/>
                                </a:rPr>
                                <m:t>)</m:t>
                              </m:r>
                            </m:oMath>
                          </a14:m>
                          <a:endParaRPr lang="en-GB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marL="0" marR="0" lvl="0" indent="0" algn="l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en-GB" dirty="0">
                              <a:solidFill>
                                <a:schemeClr val="tx1"/>
                              </a:solidFill>
                            </a:rPr>
                            <a:t>2</a:t>
                          </a:r>
                          <a:r>
                            <a:rPr lang="en-GB" dirty="0"/>
                            <a:t> loops,</a:t>
                          </a:r>
                          <a:r>
                            <a:rPr lang="en-GB" dirty="0">
                              <a:solidFill>
                                <a:schemeClr val="accent1"/>
                              </a:solidFill>
                            </a:rPr>
                            <a:t> </a:t>
                          </a:r>
                          <a14:m>
                            <m:oMath xmlns:m="http://schemas.openxmlformats.org/officeDocument/2006/math">
                              <m:r>
                                <a:rPr lang="en-US" sz="1800" b="0" i="1" kern="1200" smtClean="0">
                                  <a:solidFill>
                                    <a:srgbClr val="A3107C"/>
                                  </a:solidFill>
                                  <a:effectLst/>
                                  <a:latin typeface="Cambria Math" panose="02040503050406030204" pitchFamily="18" charset="0"/>
                                  <a:ea typeface="+mn-ea"/>
                                  <a:cs typeface="+mn-cs"/>
                                </a:rPr>
                                <m:t>𝑂</m:t>
                              </m:r>
                              <m:r>
                                <a:rPr lang="en-US" sz="1800" b="0" i="1" kern="1200" smtClean="0">
                                  <a:solidFill>
                                    <a:srgbClr val="A3107C"/>
                                  </a:solidFill>
                                  <a:effectLst/>
                                  <a:latin typeface="Cambria Math" panose="02040503050406030204" pitchFamily="18" charset="0"/>
                                  <a:ea typeface="+mn-ea"/>
                                  <a:cs typeface="+mn-cs"/>
                                </a:rPr>
                                <m:t>(</m:t>
                              </m:r>
                              <m:sSup>
                                <m:sSupPr>
                                  <m:ctrlPr>
                                    <a:rPr lang="en-US" sz="1800" b="0" i="1" kern="1200" smtClean="0">
                                      <a:solidFill>
                                        <a:srgbClr val="A3107C"/>
                                      </a:solidFill>
                                      <a:effectLst/>
                                      <a:latin typeface="Cambria Math" panose="02040503050406030204" pitchFamily="18" charset="0"/>
                                      <a:ea typeface="+mn-ea"/>
                                      <a:cs typeface="+mn-cs"/>
                                    </a:rPr>
                                  </m:ctrlPr>
                                </m:sSupPr>
                                <m:e>
                                  <m:r>
                                    <a:rPr lang="en-US" sz="1800" b="0" i="1" kern="1200" smtClean="0">
                                      <a:solidFill>
                                        <a:srgbClr val="A3107C"/>
                                      </a:solidFill>
                                      <a:effectLst/>
                                      <a:latin typeface="Cambria Math" panose="02040503050406030204" pitchFamily="18" charset="0"/>
                                      <a:ea typeface="+mn-ea"/>
                                      <a:cs typeface="+mn-cs"/>
                                    </a:rPr>
                                    <m:t>𝑧</m:t>
                                  </m:r>
                                </m:e>
                                <m:sup>
                                  <m:r>
                                    <a:rPr lang="en-US" sz="1800" b="0" i="1" kern="1200" smtClean="0">
                                      <a:solidFill>
                                        <a:srgbClr val="A3107C"/>
                                      </a:solidFill>
                                      <a:effectLst/>
                                      <a:latin typeface="Cambria Math" panose="02040503050406030204" pitchFamily="18" charset="0"/>
                                      <a:ea typeface="+mn-ea"/>
                                      <a:cs typeface="+mn-cs"/>
                                    </a:rPr>
                                    <m:t>10</m:t>
                                  </m:r>
                                </m:sup>
                              </m:sSup>
                              <m:r>
                                <a:rPr lang="en-US" sz="1800" b="0" i="1" kern="1200" smtClean="0">
                                  <a:solidFill>
                                    <a:srgbClr val="A3107C"/>
                                  </a:solidFill>
                                  <a:effectLst/>
                                  <a:latin typeface="Cambria Math" panose="02040503050406030204" pitchFamily="18" charset="0"/>
                                  <a:ea typeface="+mn-ea"/>
                                  <a:cs typeface="+mn-cs"/>
                                </a:rPr>
                                <m:t>)</m:t>
                              </m:r>
                            </m:oMath>
                          </a14:m>
                          <a:endParaRPr lang="en-GB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marL="0" marR="0" lvl="0" indent="0" algn="l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endParaRPr lang="en-GB" dirty="0"/>
                        </a:p>
                      </a:txBody>
                      <a:tcPr anchor="ctr"/>
                    </a:tc>
                    <a:extLst>
                      <a:ext uri="{0D108BD9-81ED-4DB2-BD59-A6C34878D82A}">
                        <a16:rowId xmlns:a16="http://schemas.microsoft.com/office/drawing/2014/main" val="1883006350"/>
                      </a:ext>
                    </a:extLst>
                  </a:tr>
                </a:tbl>
              </a:graphicData>
            </a:graphic>
          </p:graphicFrame>
        </mc:Choice>
        <mc:Fallback xmlns="">
          <p:graphicFrame>
            <p:nvGraphicFramePr>
              <p:cNvPr id="6" name="Table 5">
                <a:extLst>
                  <a:ext uri="{FF2B5EF4-FFF2-40B4-BE49-F238E27FC236}">
                    <a16:creationId xmlns:a16="http://schemas.microsoft.com/office/drawing/2014/main" id="{719C6F0E-D16C-6CB3-799D-AC1070A241D6}"/>
                  </a:ext>
                </a:extLst>
              </p:cNvPr>
              <p:cNvGraphicFramePr>
                <a:graphicFrameLocks noGrp="1"/>
              </p:cNvGraphicFramePr>
              <p:nvPr>
                <p:extLst>
                  <p:ext uri="{D42A27DB-BD31-4B8C-83A1-F6EECF244321}">
                    <p14:modId xmlns:p14="http://schemas.microsoft.com/office/powerpoint/2010/main" val="1366747418"/>
                  </p:ext>
                </p:extLst>
              </p:nvPr>
            </p:nvGraphicFramePr>
            <p:xfrm>
              <a:off x="371475" y="1400961"/>
              <a:ext cx="7561264" cy="4872839"/>
            </p:xfrm>
            <a:graphic>
              <a:graphicData uri="http://schemas.openxmlformats.org/drawingml/2006/table">
                <a:tbl>
                  <a:tblPr firstRow="1" bandRow="1">
                    <a:tableStyleId>{7E9639D4-E3E2-4D34-9284-5A2195B3D0D7}</a:tableStyleId>
                  </a:tblPr>
                  <a:tblGrid>
                    <a:gridCol w="1890316">
                      <a:extLst>
                        <a:ext uri="{9D8B030D-6E8A-4147-A177-3AD203B41FA5}">
                          <a16:colId xmlns:a16="http://schemas.microsoft.com/office/drawing/2014/main" val="3075996691"/>
                        </a:ext>
                      </a:extLst>
                    </a:gridCol>
                    <a:gridCol w="1890316">
                      <a:extLst>
                        <a:ext uri="{9D8B030D-6E8A-4147-A177-3AD203B41FA5}">
                          <a16:colId xmlns:a16="http://schemas.microsoft.com/office/drawing/2014/main" val="239572736"/>
                        </a:ext>
                      </a:extLst>
                    </a:gridCol>
                    <a:gridCol w="1890316">
                      <a:extLst>
                        <a:ext uri="{9D8B030D-6E8A-4147-A177-3AD203B41FA5}">
                          <a16:colId xmlns:a16="http://schemas.microsoft.com/office/drawing/2014/main" val="3988622350"/>
                        </a:ext>
                      </a:extLst>
                    </a:gridCol>
                    <a:gridCol w="1890316">
                      <a:extLst>
                        <a:ext uri="{9D8B030D-6E8A-4147-A177-3AD203B41FA5}">
                          <a16:colId xmlns:a16="http://schemas.microsoft.com/office/drawing/2014/main" val="1613997504"/>
                        </a:ext>
                      </a:extLst>
                    </a:gridCol>
                  </a:tblGrid>
                  <a:tr h="1213043">
                    <a:tc>
                      <a:txBody>
                        <a:bodyPr/>
                        <a:lstStyle/>
                        <a:p>
                          <a:r>
                            <a:rPr lang="en-GB" dirty="0"/>
                            <a:t>Contribution</a:t>
                          </a: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marL="0" marR="0" lvl="0" indent="0" algn="l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en-GB" dirty="0"/>
                            <a:t>Previous results</a:t>
                          </a:r>
                        </a:p>
                        <a:p>
                          <a:pPr marL="0" marR="0" lvl="0" indent="0" algn="l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en-US" sz="1200" b="1" dirty="0">
                              <a:solidFill>
                                <a:schemeClr val="accent3"/>
                              </a:solidFill>
                            </a:rPr>
                            <a:t>[Gerlach, </a:t>
                          </a:r>
                          <a:r>
                            <a:rPr lang="en-US" sz="1200" b="1" dirty="0" err="1">
                              <a:solidFill>
                                <a:schemeClr val="accent3"/>
                              </a:solidFill>
                            </a:rPr>
                            <a:t>Nierste</a:t>
                          </a:r>
                          <a:r>
                            <a:rPr lang="en-US" sz="1200" b="1" dirty="0">
                              <a:solidFill>
                                <a:schemeClr val="accent3"/>
                              </a:solidFill>
                            </a:rPr>
                            <a:t>, </a:t>
                          </a:r>
                          <a:r>
                            <a:rPr lang="en-US" sz="1200" b="1" dirty="0" err="1">
                              <a:solidFill>
                                <a:schemeClr val="accent3"/>
                              </a:solidFill>
                            </a:rPr>
                            <a:t>Shtabovenko</a:t>
                          </a:r>
                          <a:r>
                            <a:rPr lang="en-US" sz="1200" b="1" dirty="0">
                              <a:solidFill>
                                <a:schemeClr val="accent3"/>
                              </a:solidFill>
                            </a:rPr>
                            <a:t>, Steinhauser, 2022]</a:t>
                          </a:r>
                          <a:endParaRPr lang="en-GB" sz="1200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marL="0" marR="0" lvl="0" indent="0" algn="l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en-GB" dirty="0"/>
                            <a:t>New results </a:t>
                          </a:r>
                          <a:r>
                            <a:rPr lang="en-GB" sz="1200" b="1" kern="1200" dirty="0">
                              <a:solidFill>
                                <a:schemeClr val="accent3"/>
                              </a:solidFill>
                              <a:latin typeface="+mn-lt"/>
                              <a:ea typeface="+mn-ea"/>
                              <a:cs typeface="+mn-cs"/>
                            </a:rPr>
                            <a:t>[</a:t>
                          </a:r>
                          <a:r>
                            <a:rPr lang="en-GB" sz="1200" b="1" kern="1200" dirty="0" err="1">
                              <a:solidFill>
                                <a:schemeClr val="accent3"/>
                              </a:solidFill>
                              <a:latin typeface="+mn-lt"/>
                              <a:ea typeface="+mn-ea"/>
                              <a:cs typeface="+mn-cs"/>
                            </a:rPr>
                            <a:t>Nierste</a:t>
                          </a:r>
                          <a:r>
                            <a:rPr lang="en-GB" sz="1200" b="1" kern="1200" dirty="0">
                              <a:solidFill>
                                <a:schemeClr val="accent3"/>
                              </a:solidFill>
                              <a:latin typeface="+mn-lt"/>
                              <a:ea typeface="+mn-ea"/>
                              <a:cs typeface="+mn-cs"/>
                            </a:rPr>
                            <a:t>, Reeck, </a:t>
                          </a:r>
                          <a:r>
                            <a:rPr lang="en-GB" sz="1200" b="1" kern="1200" dirty="0" err="1">
                              <a:solidFill>
                                <a:schemeClr val="accent3"/>
                              </a:solidFill>
                              <a:latin typeface="+mn-lt"/>
                              <a:ea typeface="+mn-ea"/>
                              <a:cs typeface="+mn-cs"/>
                            </a:rPr>
                            <a:t>Shtabovenko</a:t>
                          </a:r>
                          <a:r>
                            <a:rPr lang="en-GB" sz="1200" b="1" kern="1200" dirty="0">
                              <a:solidFill>
                                <a:schemeClr val="accent3"/>
                              </a:solidFill>
                              <a:latin typeface="+mn-lt"/>
                              <a:ea typeface="+mn-ea"/>
                              <a:cs typeface="+mn-cs"/>
                            </a:rPr>
                            <a:t>, Steinhauser, 2025]</a:t>
                          </a: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marL="0" marR="0" lvl="0" indent="0" algn="l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en-GB" sz="1800" b="1" kern="1200" dirty="0">
                              <a:solidFill>
                                <a:schemeClr val="bg1"/>
                              </a:solidFill>
                              <a:latin typeface="+mn-lt"/>
                              <a:ea typeface="+mn-ea"/>
                              <a:cs typeface="+mn-cs"/>
                            </a:rPr>
                            <a:t>Status</a:t>
                          </a:r>
                        </a:p>
                      </a:txBody>
                      <a:tcPr/>
                    </a:tc>
                    <a:extLst>
                      <a:ext uri="{0D108BD9-81ED-4DB2-BD59-A6C34878D82A}">
                        <a16:rowId xmlns:a16="http://schemas.microsoft.com/office/drawing/2014/main" val="1302955405"/>
                      </a:ext>
                    </a:extLst>
                  </a:tr>
                  <a:tr h="609966">
                    <a:tc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 anchor="ctr">
                        <a:blipFill>
                          <a:blip r:embed="rId6"/>
                          <a:stretch>
                            <a:fillRect l="-671" t="-204167" r="-300671" b="-504167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 anchor="ctr">
                        <a:blipFill>
                          <a:blip r:embed="rId6"/>
                          <a:stretch>
                            <a:fillRect l="-100671" t="-204167" r="-200671" b="-504167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 anchor="ctr">
                        <a:blipFill>
                          <a:blip r:embed="rId6"/>
                          <a:stretch>
                            <a:fillRect l="-200671" t="-204167" r="-100671" b="-504167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pPr marL="0" marR="0" lvl="0" indent="0" algn="l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endParaRPr lang="en-GB" dirty="0"/>
                        </a:p>
                      </a:txBody>
                      <a:tcPr anchor="ctr"/>
                    </a:tc>
                    <a:extLst>
                      <a:ext uri="{0D108BD9-81ED-4DB2-BD59-A6C34878D82A}">
                        <a16:rowId xmlns:a16="http://schemas.microsoft.com/office/drawing/2014/main" val="1944916570"/>
                      </a:ext>
                    </a:extLst>
                  </a:tr>
                  <a:tr h="609966">
                    <a:tc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 anchor="ctr">
                        <a:blipFill>
                          <a:blip r:embed="rId6"/>
                          <a:stretch>
                            <a:fillRect l="-671" t="-304167" r="-300671" b="-404167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 anchor="ctr">
                        <a:blipFill>
                          <a:blip r:embed="rId6"/>
                          <a:stretch>
                            <a:fillRect l="-100671" t="-304167" r="-200671" b="-404167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 anchor="ctr">
                        <a:blipFill>
                          <a:blip r:embed="rId6"/>
                          <a:stretch>
                            <a:fillRect l="-200671" t="-304167" r="-100671" b="-404167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pPr algn="l"/>
                          <a:endParaRPr lang="en-GB" dirty="0"/>
                        </a:p>
                      </a:txBody>
                      <a:tcPr anchor="ctr"/>
                    </a:tc>
                    <a:extLst>
                      <a:ext uri="{0D108BD9-81ED-4DB2-BD59-A6C34878D82A}">
                        <a16:rowId xmlns:a16="http://schemas.microsoft.com/office/drawing/2014/main" val="748111041"/>
                      </a:ext>
                    </a:extLst>
                  </a:tr>
                  <a:tr h="609966">
                    <a:tc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 anchor="ctr">
                        <a:blipFill>
                          <a:blip r:embed="rId6"/>
                          <a:stretch>
                            <a:fillRect l="-671" t="-404167" r="-300671" b="-304167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 anchor="ctr">
                        <a:blipFill>
                          <a:blip r:embed="rId6"/>
                          <a:stretch>
                            <a:fillRect l="-100671" t="-404167" r="-200671" b="-304167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 anchor="ctr">
                        <a:blipFill>
                          <a:blip r:embed="rId6"/>
                          <a:stretch>
                            <a:fillRect l="-200671" t="-404167" r="-100671" b="-304167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pPr marL="0" marR="0" lvl="0" indent="0" algn="l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endParaRPr lang="en-GB" dirty="0"/>
                        </a:p>
                      </a:txBody>
                      <a:tcPr anchor="ctr"/>
                    </a:tc>
                    <a:extLst>
                      <a:ext uri="{0D108BD9-81ED-4DB2-BD59-A6C34878D82A}">
                        <a16:rowId xmlns:a16="http://schemas.microsoft.com/office/drawing/2014/main" val="2128432006"/>
                      </a:ext>
                    </a:extLst>
                  </a:tr>
                  <a:tr h="609966">
                    <a:tc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 anchor="ctr">
                        <a:blipFill>
                          <a:blip r:embed="rId6"/>
                          <a:stretch>
                            <a:fillRect l="-671" t="-504167" r="-300671" b="-204167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 anchor="ctr">
                        <a:blipFill>
                          <a:blip r:embed="rId6"/>
                          <a:stretch>
                            <a:fillRect l="-100671" t="-504167" r="-200671" b="-204167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 anchor="ctr">
                        <a:blipFill>
                          <a:blip r:embed="rId6"/>
                          <a:stretch>
                            <a:fillRect l="-200671" t="-504167" r="-100671" b="-204167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pPr marL="0" marR="0" lvl="0" indent="0" algn="l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endParaRPr lang="en-GB" dirty="0"/>
                        </a:p>
                      </a:txBody>
                      <a:tcPr anchor="ctr"/>
                    </a:tc>
                    <a:extLst>
                      <a:ext uri="{0D108BD9-81ED-4DB2-BD59-A6C34878D82A}">
                        <a16:rowId xmlns:a16="http://schemas.microsoft.com/office/drawing/2014/main" val="2649548185"/>
                      </a:ext>
                    </a:extLst>
                  </a:tr>
                  <a:tr h="609966">
                    <a:tc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 anchor="ctr">
                        <a:blipFill>
                          <a:blip r:embed="rId6"/>
                          <a:stretch>
                            <a:fillRect l="-671" t="-604167" r="-300671" b="-104167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 anchor="ctr">
                        <a:blipFill>
                          <a:blip r:embed="rId6"/>
                          <a:stretch>
                            <a:fillRect l="-100671" t="-604167" r="-200671" b="-104167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 anchor="ctr">
                        <a:blipFill>
                          <a:blip r:embed="rId6"/>
                          <a:stretch>
                            <a:fillRect l="-200671" t="-604167" r="-100671" b="-104167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pPr marL="0" marR="0" lvl="0" indent="0" algn="l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endParaRPr lang="en-GB" dirty="0"/>
                        </a:p>
                      </a:txBody>
                      <a:tcPr anchor="ctr"/>
                    </a:tc>
                    <a:extLst>
                      <a:ext uri="{0D108BD9-81ED-4DB2-BD59-A6C34878D82A}">
                        <a16:rowId xmlns:a16="http://schemas.microsoft.com/office/drawing/2014/main" val="295868212"/>
                      </a:ext>
                    </a:extLst>
                  </a:tr>
                  <a:tr h="609966">
                    <a:tc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 anchor="ctr">
                        <a:blipFill>
                          <a:blip r:embed="rId6"/>
                          <a:stretch>
                            <a:fillRect l="-671" t="-704167" r="-300671" b="-4167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 anchor="ctr">
                        <a:blipFill>
                          <a:blip r:embed="rId6"/>
                          <a:stretch>
                            <a:fillRect l="-100671" t="-704167" r="-200671" b="-4167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 anchor="ctr">
                        <a:blipFill>
                          <a:blip r:embed="rId6"/>
                          <a:stretch>
                            <a:fillRect l="-200671" t="-704167" r="-100671" b="-4167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pPr marL="0" marR="0" lvl="0" indent="0" algn="l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endParaRPr lang="en-GB" dirty="0"/>
                        </a:p>
                      </a:txBody>
                      <a:tcPr anchor="ctr"/>
                    </a:tc>
                    <a:extLst>
                      <a:ext uri="{0D108BD9-81ED-4DB2-BD59-A6C34878D82A}">
                        <a16:rowId xmlns:a16="http://schemas.microsoft.com/office/drawing/2014/main" val="1883006350"/>
                      </a:ext>
                    </a:extLst>
                  </a:tr>
                </a:tbl>
              </a:graphicData>
            </a:graphic>
          </p:graphicFrame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1" name="TextBox 20">
                <a:extLst>
                  <a:ext uri="{FF2B5EF4-FFF2-40B4-BE49-F238E27FC236}">
                    <a16:creationId xmlns:a16="http://schemas.microsoft.com/office/drawing/2014/main" id="{E4C4B987-B8E3-FF76-E70C-EFC50BD93311}"/>
                  </a:ext>
                </a:extLst>
              </p:cNvPr>
              <p:cNvSpPr txBox="1"/>
              <p:nvPr/>
            </p:nvSpPr>
            <p:spPr bwMode="gray">
              <a:xfrm>
                <a:off x="8795838" y="213051"/>
                <a:ext cx="1080000" cy="646331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3500" b="1" i="0" smtClean="0">
                          <a:latin typeface="Cambria Math" panose="02040503050406030204" pitchFamily="18" charset="0"/>
                        </a:rPr>
                        <m:t>𝚫𝚪</m:t>
                      </m:r>
                    </m:oMath>
                  </m:oMathPara>
                </a14:m>
                <a:endParaRPr lang="en-GB" sz="3500" b="1" dirty="0"/>
              </a:p>
            </p:txBody>
          </p:sp>
        </mc:Choice>
        <mc:Fallback xmlns="">
          <p:sp>
            <p:nvSpPr>
              <p:cNvPr id="21" name="TextBox 20">
                <a:extLst>
                  <a:ext uri="{FF2B5EF4-FFF2-40B4-BE49-F238E27FC236}">
                    <a16:creationId xmlns:a16="http://schemas.microsoft.com/office/drawing/2014/main" id="{E4C4B987-B8E3-FF76-E70C-EFC50BD93311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gray">
              <a:xfrm>
                <a:off x="8795838" y="213051"/>
                <a:ext cx="1080000" cy="646331"/>
              </a:xfrm>
              <a:prstGeom prst="rect">
                <a:avLst/>
              </a:prstGeom>
              <a:blipFill>
                <a:blip r:embed="rId7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4" name="Textplatzhalter 9">
                <a:extLst>
                  <a:ext uri="{FF2B5EF4-FFF2-40B4-BE49-F238E27FC236}">
                    <a16:creationId xmlns:a16="http://schemas.microsoft.com/office/drawing/2014/main" id="{F2ADC695-6F7D-9011-B3AF-FFBB780A748C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8148638" y="1376362"/>
                <a:ext cx="3671887" cy="2447926"/>
              </a:xfrm>
              <a:prstGeom prst="rect">
                <a:avLst/>
              </a:prstGeom>
            </p:spPr>
            <p:txBody>
              <a:bodyPr/>
              <a:lstStyle>
                <a:lvl1pPr marL="0" indent="0" algn="l" defTabSz="914400" rtl="0" eaLnBrk="1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300"/>
                  </a:spcAft>
                  <a:buFont typeface="Arial" panose="020B0604020202020204" pitchFamily="34" charset="0"/>
                  <a:buNone/>
                  <a:defRPr sz="16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270000" indent="-270000" algn="l" defTabSz="914400" rtl="0" eaLnBrk="1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300"/>
                  </a:spcAft>
                  <a:buClr>
                    <a:schemeClr val="accent1"/>
                  </a:buClr>
                  <a:buFont typeface="Wingdings" panose="05000000000000000000" pitchFamily="2" charset="2"/>
                  <a:buChar char="§"/>
                  <a:defRPr sz="16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270000" indent="-270000" algn="l" defTabSz="914400" rtl="0" eaLnBrk="1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300"/>
                  </a:spcAft>
                  <a:buClr>
                    <a:schemeClr val="accent1"/>
                  </a:buClr>
                  <a:buFont typeface="+mj-lt"/>
                  <a:buAutoNum type="arabicPeriod"/>
                  <a:defRPr sz="16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540000" indent="-27000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Clr>
                    <a:schemeClr val="accent1"/>
                  </a:buClr>
                  <a:buFont typeface="Symbol" panose="05050102010706020507" pitchFamily="18" charset="2"/>
                  <a:buChar char="-"/>
                  <a:defRPr sz="16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540000" indent="-27000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Clr>
                    <a:schemeClr val="accent1"/>
                  </a:buClr>
                  <a:buFont typeface="+mj-lt"/>
                  <a:buAutoNum type="alphaLcPeriod"/>
                  <a:defRPr sz="16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0" indent="0" algn="l" defTabSz="914400" rtl="0" eaLnBrk="1" latinLnBrk="0" hangingPunct="1">
                  <a:lnSpc>
                    <a:spcPct val="85000"/>
                  </a:lnSpc>
                  <a:spcBef>
                    <a:spcPts val="1200"/>
                  </a:spcBef>
                  <a:spcAft>
                    <a:spcPts val="600"/>
                  </a:spcAft>
                  <a:buFont typeface="Arial" panose="020B0604020202020204" pitchFamily="34" charset="0"/>
                  <a:buNone/>
                  <a:defRPr sz="2000" b="1" kern="1200">
                    <a:solidFill>
                      <a:schemeClr val="accent1"/>
                    </a:solidFill>
                    <a:latin typeface="+mn-lt"/>
                    <a:ea typeface="+mn-ea"/>
                    <a:cs typeface="+mn-cs"/>
                  </a:defRPr>
                </a:lvl6pPr>
                <a:lvl7pPr marL="0" indent="0" algn="l" defTabSz="914400" rtl="0" eaLnBrk="1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300"/>
                  </a:spcAft>
                  <a:buFont typeface="Arial" panose="020B0604020202020204" pitchFamily="34" charset="0"/>
                  <a:buNone/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0" indent="0" algn="l" defTabSz="914400" rtl="0" eaLnBrk="1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300"/>
                  </a:spcAft>
                  <a:buFont typeface="Arial" panose="020B0604020202020204" pitchFamily="34" charset="0"/>
                  <a:buNone/>
                  <a:defRPr sz="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0" indent="0" algn="l" defTabSz="914400" rtl="0" eaLnBrk="1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300"/>
                  </a:spcAft>
                  <a:buFont typeface="Arial" panose="020B0604020202020204" pitchFamily="34" charset="0"/>
                  <a:buNone/>
                  <a:defRPr sz="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lvl="1" indent="0">
                  <a:buFont typeface="Wingdings" panose="05000000000000000000" pitchFamily="2" charset="2"/>
                  <a:buNone/>
                </a:pPr>
                <a:r>
                  <a:rPr lang="en-GB" sz="1800" b="1" dirty="0">
                    <a:solidFill>
                      <a:schemeClr val="accent1"/>
                    </a:solidFill>
                  </a:rPr>
                  <a:t>Main challenges</a:t>
                </a:r>
              </a:p>
              <a:p>
                <a:pPr lvl="1">
                  <a:buClr>
                    <a:srgbClr val="009682"/>
                  </a:buClr>
                  <a:defRPr/>
                </a:pPr>
                <a:r>
                  <a:rPr lang="en-US" dirty="0">
                    <a:solidFill>
                      <a:srgbClr val="002D4C"/>
                    </a:solidFill>
                    <a:latin typeface="Arial"/>
                  </a:rPr>
                  <a:t>Large number of diagrams: </a:t>
                </a:r>
                <a14:m>
                  <m:oMath xmlns:m="http://schemas.openxmlformats.org/officeDocument/2006/math">
                    <m:r>
                      <a:rPr lang="en-US" b="0" i="1" smtClean="0">
                        <a:solidFill>
                          <a:srgbClr val="002D4C"/>
                        </a:solidFill>
                        <a:latin typeface="Cambria Math" panose="02040503050406030204" pitchFamily="18" charset="0"/>
                      </a:rPr>
                      <m:t>𝑂</m:t>
                    </m:r>
                    <m:r>
                      <a:rPr lang="en-US" b="0" i="1" smtClean="0">
                        <a:solidFill>
                          <a:srgbClr val="002D4C"/>
                        </a:solidFill>
                        <a:latin typeface="Cambria Math" panose="02040503050406030204" pitchFamily="18" charset="0"/>
                      </a:rPr>
                      <m:t>(</m:t>
                    </m:r>
                    <m:sSup>
                      <m:sSupPr>
                        <m:ctrlPr>
                          <a:rPr lang="en-US" b="0" i="1" smtClean="0">
                            <a:solidFill>
                              <a:srgbClr val="002D4C"/>
                            </a:solidFill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b="0" i="1" smtClean="0">
                            <a:solidFill>
                              <a:srgbClr val="002D4C"/>
                            </a:solidFill>
                            <a:latin typeface="Cambria Math" panose="02040503050406030204" pitchFamily="18" charset="0"/>
                          </a:rPr>
                          <m:t>10</m:t>
                        </m:r>
                      </m:e>
                      <m:sup>
                        <m:r>
                          <a:rPr lang="en-US" b="0" i="1" smtClean="0">
                            <a:solidFill>
                              <a:srgbClr val="002D4C"/>
                            </a:solidFill>
                            <a:latin typeface="Cambria Math" panose="02040503050406030204" pitchFamily="18" charset="0"/>
                          </a:rPr>
                          <m:t>6</m:t>
                        </m:r>
                      </m:sup>
                    </m:sSup>
                    <m:r>
                      <a:rPr lang="en-US" b="0" i="1" smtClean="0">
                        <a:solidFill>
                          <a:srgbClr val="002D4C"/>
                        </a:solidFill>
                        <a:latin typeface="Cambria Math" panose="02040503050406030204" pitchFamily="18" charset="0"/>
                      </a:rPr>
                      <m:t>)</m:t>
                    </m:r>
                  </m:oMath>
                </a14:m>
                <a:endParaRPr lang="en-US" dirty="0">
                  <a:solidFill>
                    <a:srgbClr val="002D4C"/>
                  </a:solidFill>
                  <a:latin typeface="Arial"/>
                </a:endParaRPr>
              </a:p>
              <a:p>
                <a:pPr lvl="1">
                  <a:buClr>
                    <a:srgbClr val="009682"/>
                  </a:buClr>
                  <a:defRPr/>
                </a:pPr>
                <a:r>
                  <a:rPr lang="en-US" dirty="0">
                    <a:solidFill>
                      <a:srgbClr val="002D4C"/>
                    </a:solidFill>
                    <a:latin typeface="Arial"/>
                  </a:rPr>
                  <a:t>Master integrals with 3 loops, on-shell, 2 mass scales: </a:t>
                </a:r>
                <a14:m>
                  <m:oMath xmlns:m="http://schemas.openxmlformats.org/officeDocument/2006/math">
                    <m:r>
                      <a:rPr lang="en-US" b="0" i="1" smtClean="0">
                        <a:solidFill>
                          <a:srgbClr val="002D4C"/>
                        </a:solidFill>
                        <a:latin typeface="Cambria Math" panose="02040503050406030204" pitchFamily="18" charset="0"/>
                      </a:rPr>
                      <m:t>𝑧</m:t>
                    </m:r>
                    <m:r>
                      <a:rPr lang="en-US" b="0" i="1" smtClean="0">
                        <a:solidFill>
                          <a:srgbClr val="002D4C"/>
                        </a:solidFill>
                        <a:latin typeface="Cambria Math" panose="02040503050406030204" pitchFamily="18" charset="0"/>
                      </a:rPr>
                      <m:t>=</m:t>
                    </m:r>
                    <m:sSubSup>
                      <m:sSubSupPr>
                        <m:ctrlPr>
                          <a:rPr lang="en-US" b="0" i="1" smtClean="0">
                            <a:solidFill>
                              <a:srgbClr val="002D4C"/>
                            </a:solidFill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en-US" b="0" i="1" smtClean="0">
                            <a:solidFill>
                              <a:srgbClr val="002D4C"/>
                            </a:solidFill>
                            <a:latin typeface="Cambria Math" panose="02040503050406030204" pitchFamily="18" charset="0"/>
                          </a:rPr>
                          <m:t>𝑚</m:t>
                        </m:r>
                      </m:e>
                      <m:sub>
                        <m:r>
                          <a:rPr lang="en-US" b="0" i="1" smtClean="0">
                            <a:solidFill>
                              <a:srgbClr val="002D4C"/>
                            </a:solidFill>
                            <a:latin typeface="Cambria Math" panose="02040503050406030204" pitchFamily="18" charset="0"/>
                          </a:rPr>
                          <m:t>𝑐</m:t>
                        </m:r>
                      </m:sub>
                      <m:sup>
                        <m:r>
                          <a:rPr lang="en-US" b="0" i="1" smtClean="0">
                            <a:solidFill>
                              <a:srgbClr val="002D4C"/>
                            </a:solidFill>
                            <a:latin typeface="Cambria Math" panose="02040503050406030204" pitchFamily="18" charset="0"/>
                          </a:rPr>
                          <m:t>2</m:t>
                        </m:r>
                      </m:sup>
                    </m:sSubSup>
                    <m:r>
                      <a:rPr lang="en-US" b="0" i="1" smtClean="0">
                        <a:solidFill>
                          <a:srgbClr val="002D4C"/>
                        </a:solidFill>
                        <a:latin typeface="Cambria Math" panose="02040503050406030204" pitchFamily="18" charset="0"/>
                      </a:rPr>
                      <m:t>/</m:t>
                    </m:r>
                    <m:sSubSup>
                      <m:sSubSupPr>
                        <m:ctrlPr>
                          <a:rPr lang="en-US" b="0" i="1" smtClean="0">
                            <a:solidFill>
                              <a:srgbClr val="002D4C"/>
                            </a:solidFill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en-US" b="0" i="1" smtClean="0">
                            <a:solidFill>
                              <a:srgbClr val="002D4C"/>
                            </a:solidFill>
                            <a:latin typeface="Cambria Math" panose="02040503050406030204" pitchFamily="18" charset="0"/>
                          </a:rPr>
                          <m:t>𝑚</m:t>
                        </m:r>
                      </m:e>
                      <m:sub>
                        <m:r>
                          <a:rPr lang="en-US" b="0" i="1" smtClean="0">
                            <a:solidFill>
                              <a:srgbClr val="002D4C"/>
                            </a:solidFill>
                            <a:latin typeface="Cambria Math" panose="02040503050406030204" pitchFamily="18" charset="0"/>
                          </a:rPr>
                          <m:t>𝑏</m:t>
                        </m:r>
                      </m:sub>
                      <m:sup>
                        <m:r>
                          <a:rPr lang="en-US" b="0" i="1" smtClean="0">
                            <a:solidFill>
                              <a:srgbClr val="002D4C"/>
                            </a:solidFill>
                            <a:latin typeface="Cambria Math" panose="02040503050406030204" pitchFamily="18" charset="0"/>
                          </a:rPr>
                          <m:t>2</m:t>
                        </m:r>
                      </m:sup>
                    </m:sSubSup>
                  </m:oMath>
                </a14:m>
                <a:endParaRPr lang="en-US" dirty="0">
                  <a:solidFill>
                    <a:srgbClr val="002D4C"/>
                  </a:solidFill>
                  <a:latin typeface="Arial"/>
                </a:endParaRPr>
              </a:p>
              <a:p>
                <a:pPr lvl="1">
                  <a:buClr>
                    <a:srgbClr val="009682"/>
                  </a:buClr>
                  <a:defRPr/>
                </a:pPr>
                <a:r>
                  <a:rPr lang="en-US" dirty="0"/>
                  <a:t>Projectors for Dirac matrices in d dimensions</a:t>
                </a:r>
              </a:p>
              <a:p>
                <a:pPr lvl="1">
                  <a:buClr>
                    <a:srgbClr val="009682"/>
                  </a:buClr>
                  <a:defRPr/>
                </a:pPr>
                <a:r>
                  <a:rPr lang="en-US" dirty="0">
                    <a:solidFill>
                      <a:srgbClr val="002D4C"/>
                    </a:solidFill>
                    <a:latin typeface="Arial"/>
                  </a:rPr>
                  <a:t>Dimensional </a:t>
                </a:r>
                <a:r>
                  <a:rPr lang="en-US" dirty="0" err="1">
                    <a:solidFill>
                      <a:srgbClr val="002D4C"/>
                    </a:solidFill>
                    <a:latin typeface="Arial"/>
                  </a:rPr>
                  <a:t>regularisation</a:t>
                </a:r>
                <a:r>
                  <a:rPr lang="en-US" dirty="0">
                    <a:solidFill>
                      <a:srgbClr val="002D4C"/>
                    </a:solidFill>
                    <a:latin typeface="Arial"/>
                  </a:rPr>
                  <a:t> and evanescent operators</a:t>
                </a:r>
                <a:endParaRPr lang="en-GB" dirty="0"/>
              </a:p>
            </p:txBody>
          </p:sp>
        </mc:Choice>
        <mc:Fallback xmlns="">
          <p:sp>
            <p:nvSpPr>
              <p:cNvPr id="24" name="Textplatzhalter 9">
                <a:extLst>
                  <a:ext uri="{FF2B5EF4-FFF2-40B4-BE49-F238E27FC236}">
                    <a16:creationId xmlns:a16="http://schemas.microsoft.com/office/drawing/2014/main" id="{F2ADC695-6F7D-9011-B3AF-FFBB780A748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148638" y="1376362"/>
                <a:ext cx="3671887" cy="2447926"/>
              </a:xfrm>
              <a:prstGeom prst="rect">
                <a:avLst/>
              </a:prstGeom>
              <a:blipFill>
                <a:blip r:embed="rId13"/>
                <a:stretch>
                  <a:fillRect l="-1379" t="-1036" b="-1036"/>
                </a:stretch>
              </a:blipFill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9" name="Picture Placeholder 30" descr="A diagram of a circle with arrows and circles&#10;&#10;AI-generated content may be incorrect.">
            <a:extLst>
              <a:ext uri="{FF2B5EF4-FFF2-40B4-BE49-F238E27FC236}">
                <a16:creationId xmlns:a16="http://schemas.microsoft.com/office/drawing/2014/main" id="{3DD3B6D6-FB6F-AA61-EAE5-0911C3D4C40C}"/>
              </a:ext>
            </a:extLst>
          </p:cNvPr>
          <p:cNvPicPr>
            <a:picLocks noChangeAspect="1"/>
          </p:cNvPicPr>
          <p:nvPr/>
        </p:nvPicPr>
        <p:blipFill rotWithShape="1">
          <a:blip r:embed="rId14"/>
          <a:srcRect t="2081" b="-1"/>
          <a:stretch/>
        </p:blipFill>
        <p:spPr>
          <a:xfrm>
            <a:off x="8002441" y="4057167"/>
            <a:ext cx="3964280" cy="2066877"/>
          </a:xfrm>
          <a:prstGeom prst="rect">
            <a:avLst/>
          </a:prstGeom>
        </p:spPr>
      </p:pic>
      <p:grpSp>
        <p:nvGrpSpPr>
          <p:cNvPr id="53" name="Group 52">
            <a:extLst>
              <a:ext uri="{FF2B5EF4-FFF2-40B4-BE49-F238E27FC236}">
                <a16:creationId xmlns:a16="http://schemas.microsoft.com/office/drawing/2014/main" id="{861DB05E-61DE-6063-5FDA-80B7A26D3E64}"/>
              </a:ext>
            </a:extLst>
          </p:cNvPr>
          <p:cNvGrpSpPr/>
          <p:nvPr/>
        </p:nvGrpSpPr>
        <p:grpSpPr>
          <a:xfrm>
            <a:off x="6676131" y="2706918"/>
            <a:ext cx="434755" cy="3471302"/>
            <a:chOff x="6676131" y="2706918"/>
            <a:chExt cx="434755" cy="3471302"/>
          </a:xfrm>
        </p:grpSpPr>
        <p:grpSp>
          <p:nvGrpSpPr>
            <p:cNvPr id="16" name="Gruppieren 97">
              <a:extLst>
                <a:ext uri="{FF2B5EF4-FFF2-40B4-BE49-F238E27FC236}">
                  <a16:creationId xmlns:a16="http://schemas.microsoft.com/office/drawing/2014/main" id="{490458DE-ACF6-6B0F-1546-98E54D3EBE3D}"/>
                </a:ext>
              </a:extLst>
            </p:cNvPr>
            <p:cNvGrpSpPr/>
            <p:nvPr/>
          </p:nvGrpSpPr>
          <p:grpSpPr>
            <a:xfrm>
              <a:off x="6676131" y="2706918"/>
              <a:ext cx="432000" cy="432000"/>
              <a:chOff x="6203950" y="2825279"/>
              <a:chExt cx="432000" cy="432000"/>
            </a:xfrm>
          </p:grpSpPr>
          <p:sp>
            <p:nvSpPr>
              <p:cNvPr id="17" name="Ellipse 98">
                <a:extLst>
                  <a:ext uri="{FF2B5EF4-FFF2-40B4-BE49-F238E27FC236}">
                    <a16:creationId xmlns:a16="http://schemas.microsoft.com/office/drawing/2014/main" id="{F0C5E7ED-3F40-750B-BED6-7FB2C00660DF}"/>
                  </a:ext>
                </a:extLst>
              </p:cNvPr>
              <p:cNvSpPr/>
              <p:nvPr/>
            </p:nvSpPr>
            <p:spPr bwMode="gray">
              <a:xfrm>
                <a:off x="6203950" y="2825279"/>
                <a:ext cx="432000" cy="432000"/>
              </a:xfrm>
              <a:prstGeom prst="ellipse">
                <a:avLst/>
              </a:prstGeom>
              <a:solidFill>
                <a:schemeClr val="accent5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72000" rIns="72000" bIns="72000" rtlCol="0" anchor="ctr"/>
              <a:lstStyle/>
              <a:p>
                <a:pPr algn="ctr">
                  <a:spcBef>
                    <a:spcPts val="300"/>
                  </a:spcBef>
                  <a:spcAft>
                    <a:spcPts val="300"/>
                  </a:spcAft>
                </a:pPr>
                <a:endParaRPr lang="en-US" sz="1600" dirty="0" err="1">
                  <a:solidFill>
                    <a:schemeClr val="bg1"/>
                  </a:solidFill>
                </a:endParaRPr>
              </a:p>
            </p:txBody>
          </p:sp>
          <p:grpSp>
            <p:nvGrpSpPr>
              <p:cNvPr id="18" name="Gruppieren 99">
                <a:extLst>
                  <a:ext uri="{FF2B5EF4-FFF2-40B4-BE49-F238E27FC236}">
                    <a16:creationId xmlns:a16="http://schemas.microsoft.com/office/drawing/2014/main" id="{126C924E-9607-0C49-62B2-B91681428416}"/>
                  </a:ext>
                </a:extLst>
              </p:cNvPr>
              <p:cNvGrpSpPr/>
              <p:nvPr/>
            </p:nvGrpSpPr>
            <p:grpSpPr>
              <a:xfrm>
                <a:off x="6302270" y="2953365"/>
                <a:ext cx="235360" cy="175828"/>
                <a:chOff x="6240016" y="2717304"/>
                <a:chExt cx="470719" cy="351656"/>
              </a:xfrm>
            </p:grpSpPr>
            <p:cxnSp>
              <p:nvCxnSpPr>
                <p:cNvPr id="19" name="Gerader Verbinder 100">
                  <a:extLst>
                    <a:ext uri="{FF2B5EF4-FFF2-40B4-BE49-F238E27FC236}">
                      <a16:creationId xmlns:a16="http://schemas.microsoft.com/office/drawing/2014/main" id="{D2C7431B-9261-95A0-6868-DCE809F7791F}"/>
                    </a:ext>
                  </a:extLst>
                </p:cNvPr>
                <p:cNvCxnSpPr/>
                <p:nvPr/>
              </p:nvCxnSpPr>
              <p:spPr bwMode="gray">
                <a:xfrm>
                  <a:off x="6240016" y="2924944"/>
                  <a:ext cx="144016" cy="144016"/>
                </a:xfrm>
                <a:prstGeom prst="line">
                  <a:avLst/>
                </a:prstGeom>
                <a:ln w="19050">
                  <a:solidFill>
                    <a:schemeClr val="bg1"/>
                  </a:solidFill>
                </a:ln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0" name="Gerader Verbinder 101">
                  <a:extLst>
                    <a:ext uri="{FF2B5EF4-FFF2-40B4-BE49-F238E27FC236}">
                      <a16:creationId xmlns:a16="http://schemas.microsoft.com/office/drawing/2014/main" id="{923D549A-E3F9-118D-D196-93046C06A4D6}"/>
                    </a:ext>
                  </a:extLst>
                </p:cNvPr>
                <p:cNvCxnSpPr>
                  <a:cxnSpLocks/>
                </p:cNvCxnSpPr>
                <p:nvPr/>
              </p:nvCxnSpPr>
              <p:spPr bwMode="gray">
                <a:xfrm flipH="1">
                  <a:off x="6359080" y="2717304"/>
                  <a:ext cx="351655" cy="351656"/>
                </a:xfrm>
                <a:prstGeom prst="line">
                  <a:avLst/>
                </a:prstGeom>
                <a:ln w="19050">
                  <a:solidFill>
                    <a:schemeClr val="bg1"/>
                  </a:solidFill>
                </a:ln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grpSp>
          <p:nvGrpSpPr>
            <p:cNvPr id="28" name="Gruppieren 97">
              <a:extLst>
                <a:ext uri="{FF2B5EF4-FFF2-40B4-BE49-F238E27FC236}">
                  <a16:creationId xmlns:a16="http://schemas.microsoft.com/office/drawing/2014/main" id="{8CCB401A-6F8E-25FA-4696-92884D33CE10}"/>
                </a:ext>
              </a:extLst>
            </p:cNvPr>
            <p:cNvGrpSpPr/>
            <p:nvPr/>
          </p:nvGrpSpPr>
          <p:grpSpPr>
            <a:xfrm>
              <a:off x="6678886" y="3318460"/>
              <a:ext cx="432000" cy="1041096"/>
              <a:chOff x="6203950" y="2825279"/>
              <a:chExt cx="432000" cy="1041096"/>
            </a:xfrm>
          </p:grpSpPr>
          <p:sp>
            <p:nvSpPr>
              <p:cNvPr id="29" name="Ellipse 98">
                <a:extLst>
                  <a:ext uri="{FF2B5EF4-FFF2-40B4-BE49-F238E27FC236}">
                    <a16:creationId xmlns:a16="http://schemas.microsoft.com/office/drawing/2014/main" id="{5C3CAE3B-A2CF-DFC2-FE40-93945E91A106}"/>
                  </a:ext>
                </a:extLst>
              </p:cNvPr>
              <p:cNvSpPr/>
              <p:nvPr/>
            </p:nvSpPr>
            <p:spPr bwMode="gray">
              <a:xfrm>
                <a:off x="6203950" y="2825279"/>
                <a:ext cx="432000" cy="432000"/>
              </a:xfrm>
              <a:prstGeom prst="ellipse">
                <a:avLst/>
              </a:prstGeom>
              <a:solidFill>
                <a:srgbClr val="FCE500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72000" rIns="72000" bIns="72000" rtlCol="0" anchor="ctr"/>
              <a:lstStyle/>
              <a:p>
                <a:pPr algn="ctr">
                  <a:spcBef>
                    <a:spcPts val="300"/>
                  </a:spcBef>
                  <a:spcAft>
                    <a:spcPts val="300"/>
                  </a:spcAft>
                </a:pPr>
                <a:endParaRPr lang="en-US" sz="1600" dirty="0" err="1">
                  <a:solidFill>
                    <a:schemeClr val="bg1"/>
                  </a:solidFill>
                </a:endParaRPr>
              </a:p>
            </p:txBody>
          </p:sp>
          <p:grpSp>
            <p:nvGrpSpPr>
              <p:cNvPr id="30" name="Gruppieren 99">
                <a:extLst>
                  <a:ext uri="{FF2B5EF4-FFF2-40B4-BE49-F238E27FC236}">
                    <a16:creationId xmlns:a16="http://schemas.microsoft.com/office/drawing/2014/main" id="{B66E33FF-20A9-552F-8F1B-B3A95F613804}"/>
                  </a:ext>
                </a:extLst>
              </p:cNvPr>
              <p:cNvGrpSpPr/>
              <p:nvPr/>
            </p:nvGrpSpPr>
            <p:grpSpPr>
              <a:xfrm>
                <a:off x="6302270" y="2953365"/>
                <a:ext cx="235360" cy="175828"/>
                <a:chOff x="6240016" y="2717304"/>
                <a:chExt cx="470719" cy="351656"/>
              </a:xfrm>
            </p:grpSpPr>
            <p:cxnSp>
              <p:nvCxnSpPr>
                <p:cNvPr id="31" name="Gerader Verbinder 100">
                  <a:extLst>
                    <a:ext uri="{FF2B5EF4-FFF2-40B4-BE49-F238E27FC236}">
                      <a16:creationId xmlns:a16="http://schemas.microsoft.com/office/drawing/2014/main" id="{5559AF96-C64B-71A7-2D57-7A34D95243B3}"/>
                    </a:ext>
                  </a:extLst>
                </p:cNvPr>
                <p:cNvCxnSpPr/>
                <p:nvPr/>
              </p:nvCxnSpPr>
              <p:spPr bwMode="gray">
                <a:xfrm>
                  <a:off x="6240016" y="2924944"/>
                  <a:ext cx="144016" cy="144016"/>
                </a:xfrm>
                <a:prstGeom prst="line">
                  <a:avLst/>
                </a:prstGeom>
                <a:ln w="19050">
                  <a:solidFill>
                    <a:schemeClr val="bg1"/>
                  </a:solidFill>
                </a:ln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2" name="Gerader Verbinder 101">
                  <a:extLst>
                    <a:ext uri="{FF2B5EF4-FFF2-40B4-BE49-F238E27FC236}">
                      <a16:creationId xmlns:a16="http://schemas.microsoft.com/office/drawing/2014/main" id="{F9CB17C0-D877-69DC-6016-D057460BEEE5}"/>
                    </a:ext>
                  </a:extLst>
                </p:cNvPr>
                <p:cNvCxnSpPr>
                  <a:cxnSpLocks/>
                </p:cNvCxnSpPr>
                <p:nvPr/>
              </p:nvCxnSpPr>
              <p:spPr bwMode="gray">
                <a:xfrm flipH="1">
                  <a:off x="6359080" y="2717304"/>
                  <a:ext cx="351655" cy="351656"/>
                </a:xfrm>
                <a:prstGeom prst="line">
                  <a:avLst/>
                </a:prstGeom>
                <a:ln w="19050">
                  <a:solidFill>
                    <a:schemeClr val="bg1"/>
                  </a:solidFill>
                </a:ln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</p:grpSp>
          <p:sp>
            <p:nvSpPr>
              <p:cNvPr id="7" name="Ellipse 98">
                <a:extLst>
                  <a:ext uri="{FF2B5EF4-FFF2-40B4-BE49-F238E27FC236}">
                    <a16:creationId xmlns:a16="http://schemas.microsoft.com/office/drawing/2014/main" id="{86ED6CDB-744F-E870-34E5-83E8FA5E1F6E}"/>
                  </a:ext>
                </a:extLst>
              </p:cNvPr>
              <p:cNvSpPr/>
              <p:nvPr/>
            </p:nvSpPr>
            <p:spPr bwMode="gray">
              <a:xfrm>
                <a:off x="6203950" y="3434375"/>
                <a:ext cx="432000" cy="432000"/>
              </a:xfrm>
              <a:prstGeom prst="ellipse">
                <a:avLst/>
              </a:prstGeom>
              <a:solidFill>
                <a:srgbClr val="FCE500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72000" rIns="72000" bIns="72000" rtlCol="0" anchor="ctr"/>
              <a:lstStyle/>
              <a:p>
                <a:pPr algn="ctr">
                  <a:spcBef>
                    <a:spcPts val="300"/>
                  </a:spcBef>
                  <a:spcAft>
                    <a:spcPts val="300"/>
                  </a:spcAft>
                </a:pPr>
                <a:endParaRPr lang="en-US" sz="1600" dirty="0" err="1">
                  <a:solidFill>
                    <a:schemeClr val="bg1"/>
                  </a:solidFill>
                </a:endParaRPr>
              </a:p>
            </p:txBody>
          </p:sp>
        </p:grpSp>
        <p:grpSp>
          <p:nvGrpSpPr>
            <p:cNvPr id="33" name="Gruppieren 97">
              <a:extLst>
                <a:ext uri="{FF2B5EF4-FFF2-40B4-BE49-F238E27FC236}">
                  <a16:creationId xmlns:a16="http://schemas.microsoft.com/office/drawing/2014/main" id="{C50A1BFB-84B3-CB28-A9E4-A976EC00678E}"/>
                </a:ext>
              </a:extLst>
            </p:cNvPr>
            <p:cNvGrpSpPr/>
            <p:nvPr/>
          </p:nvGrpSpPr>
          <p:grpSpPr>
            <a:xfrm>
              <a:off x="6676131" y="4534420"/>
              <a:ext cx="432000" cy="432000"/>
              <a:chOff x="6203950" y="2825279"/>
              <a:chExt cx="432000" cy="432000"/>
            </a:xfrm>
          </p:grpSpPr>
          <p:sp>
            <p:nvSpPr>
              <p:cNvPr id="34" name="Ellipse 98">
                <a:extLst>
                  <a:ext uri="{FF2B5EF4-FFF2-40B4-BE49-F238E27FC236}">
                    <a16:creationId xmlns:a16="http://schemas.microsoft.com/office/drawing/2014/main" id="{FE89B46B-86E2-51A5-F9E8-4D5C179E67F1}"/>
                  </a:ext>
                </a:extLst>
              </p:cNvPr>
              <p:cNvSpPr/>
              <p:nvPr/>
            </p:nvSpPr>
            <p:spPr bwMode="gray">
              <a:xfrm>
                <a:off x="6203950" y="2825279"/>
                <a:ext cx="432000" cy="432000"/>
              </a:xfrm>
              <a:prstGeom prst="ellipse">
                <a:avLst/>
              </a:prstGeom>
              <a:solidFill>
                <a:schemeClr val="accent5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72000" rIns="72000" bIns="72000" rtlCol="0" anchor="ctr"/>
              <a:lstStyle/>
              <a:p>
                <a:pPr algn="ctr">
                  <a:spcBef>
                    <a:spcPts val="300"/>
                  </a:spcBef>
                  <a:spcAft>
                    <a:spcPts val="300"/>
                  </a:spcAft>
                </a:pPr>
                <a:endParaRPr lang="en-US" sz="1600" dirty="0" err="1">
                  <a:solidFill>
                    <a:schemeClr val="bg1"/>
                  </a:solidFill>
                </a:endParaRPr>
              </a:p>
            </p:txBody>
          </p:sp>
          <p:grpSp>
            <p:nvGrpSpPr>
              <p:cNvPr id="35" name="Gruppieren 99">
                <a:extLst>
                  <a:ext uri="{FF2B5EF4-FFF2-40B4-BE49-F238E27FC236}">
                    <a16:creationId xmlns:a16="http://schemas.microsoft.com/office/drawing/2014/main" id="{73BA92D3-58C5-59B0-6868-B450271B99C0}"/>
                  </a:ext>
                </a:extLst>
              </p:cNvPr>
              <p:cNvGrpSpPr/>
              <p:nvPr/>
            </p:nvGrpSpPr>
            <p:grpSpPr>
              <a:xfrm>
                <a:off x="6302270" y="2953365"/>
                <a:ext cx="235360" cy="175828"/>
                <a:chOff x="6240016" y="2717304"/>
                <a:chExt cx="470719" cy="351656"/>
              </a:xfrm>
            </p:grpSpPr>
            <p:cxnSp>
              <p:nvCxnSpPr>
                <p:cNvPr id="36" name="Gerader Verbinder 100">
                  <a:extLst>
                    <a:ext uri="{FF2B5EF4-FFF2-40B4-BE49-F238E27FC236}">
                      <a16:creationId xmlns:a16="http://schemas.microsoft.com/office/drawing/2014/main" id="{D73EEFD2-6E01-EF90-FA24-245E3D35DFB7}"/>
                    </a:ext>
                  </a:extLst>
                </p:cNvPr>
                <p:cNvCxnSpPr/>
                <p:nvPr/>
              </p:nvCxnSpPr>
              <p:spPr bwMode="gray">
                <a:xfrm>
                  <a:off x="6240016" y="2924944"/>
                  <a:ext cx="144016" cy="144016"/>
                </a:xfrm>
                <a:prstGeom prst="line">
                  <a:avLst/>
                </a:prstGeom>
                <a:ln w="19050">
                  <a:solidFill>
                    <a:schemeClr val="bg1"/>
                  </a:solidFill>
                </a:ln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7" name="Gerader Verbinder 101">
                  <a:extLst>
                    <a:ext uri="{FF2B5EF4-FFF2-40B4-BE49-F238E27FC236}">
                      <a16:creationId xmlns:a16="http://schemas.microsoft.com/office/drawing/2014/main" id="{E9F9C6EE-5623-F547-9C8C-FE54C0501BEA}"/>
                    </a:ext>
                  </a:extLst>
                </p:cNvPr>
                <p:cNvCxnSpPr>
                  <a:cxnSpLocks/>
                </p:cNvCxnSpPr>
                <p:nvPr/>
              </p:nvCxnSpPr>
              <p:spPr bwMode="gray">
                <a:xfrm flipH="1">
                  <a:off x="6359080" y="2717304"/>
                  <a:ext cx="351655" cy="351656"/>
                </a:xfrm>
                <a:prstGeom prst="line">
                  <a:avLst/>
                </a:prstGeom>
                <a:ln w="19050">
                  <a:solidFill>
                    <a:schemeClr val="bg1"/>
                  </a:solidFill>
                </a:ln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grpSp>
          <p:nvGrpSpPr>
            <p:cNvPr id="38" name="Gruppieren 97">
              <a:extLst>
                <a:ext uri="{FF2B5EF4-FFF2-40B4-BE49-F238E27FC236}">
                  <a16:creationId xmlns:a16="http://schemas.microsoft.com/office/drawing/2014/main" id="{8EE7B012-E9A4-1C43-4A03-AC4AF26E6668}"/>
                </a:ext>
              </a:extLst>
            </p:cNvPr>
            <p:cNvGrpSpPr/>
            <p:nvPr/>
          </p:nvGrpSpPr>
          <p:grpSpPr>
            <a:xfrm>
              <a:off x="6676131" y="5140320"/>
              <a:ext cx="432000" cy="432000"/>
              <a:chOff x="6203950" y="2825279"/>
              <a:chExt cx="432000" cy="432000"/>
            </a:xfrm>
          </p:grpSpPr>
          <p:sp>
            <p:nvSpPr>
              <p:cNvPr id="39" name="Ellipse 98">
                <a:extLst>
                  <a:ext uri="{FF2B5EF4-FFF2-40B4-BE49-F238E27FC236}">
                    <a16:creationId xmlns:a16="http://schemas.microsoft.com/office/drawing/2014/main" id="{139A236E-75B0-9D54-695D-E25A66B73A76}"/>
                  </a:ext>
                </a:extLst>
              </p:cNvPr>
              <p:cNvSpPr/>
              <p:nvPr/>
            </p:nvSpPr>
            <p:spPr bwMode="gray">
              <a:xfrm>
                <a:off x="6203950" y="2825279"/>
                <a:ext cx="432000" cy="432000"/>
              </a:xfrm>
              <a:prstGeom prst="ellipse">
                <a:avLst/>
              </a:prstGeom>
              <a:solidFill>
                <a:schemeClr val="accent5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72000" rIns="72000" bIns="72000" rtlCol="0" anchor="ctr"/>
              <a:lstStyle/>
              <a:p>
                <a:pPr algn="ctr">
                  <a:spcBef>
                    <a:spcPts val="300"/>
                  </a:spcBef>
                  <a:spcAft>
                    <a:spcPts val="300"/>
                  </a:spcAft>
                </a:pPr>
                <a:endParaRPr lang="en-US" sz="1600" dirty="0" err="1">
                  <a:solidFill>
                    <a:schemeClr val="bg1"/>
                  </a:solidFill>
                </a:endParaRPr>
              </a:p>
            </p:txBody>
          </p:sp>
          <p:grpSp>
            <p:nvGrpSpPr>
              <p:cNvPr id="40" name="Gruppieren 99">
                <a:extLst>
                  <a:ext uri="{FF2B5EF4-FFF2-40B4-BE49-F238E27FC236}">
                    <a16:creationId xmlns:a16="http://schemas.microsoft.com/office/drawing/2014/main" id="{A54525F5-1C08-8C4E-2253-5612461F9454}"/>
                  </a:ext>
                </a:extLst>
              </p:cNvPr>
              <p:cNvGrpSpPr/>
              <p:nvPr/>
            </p:nvGrpSpPr>
            <p:grpSpPr>
              <a:xfrm>
                <a:off x="6302270" y="2953365"/>
                <a:ext cx="235360" cy="175828"/>
                <a:chOff x="6240016" y="2717304"/>
                <a:chExt cx="470719" cy="351656"/>
              </a:xfrm>
            </p:grpSpPr>
            <p:cxnSp>
              <p:nvCxnSpPr>
                <p:cNvPr id="41" name="Gerader Verbinder 100">
                  <a:extLst>
                    <a:ext uri="{FF2B5EF4-FFF2-40B4-BE49-F238E27FC236}">
                      <a16:creationId xmlns:a16="http://schemas.microsoft.com/office/drawing/2014/main" id="{57915190-6EE8-A64B-BEB9-F3EC009AB18E}"/>
                    </a:ext>
                  </a:extLst>
                </p:cNvPr>
                <p:cNvCxnSpPr/>
                <p:nvPr/>
              </p:nvCxnSpPr>
              <p:spPr bwMode="gray">
                <a:xfrm>
                  <a:off x="6240016" y="2924944"/>
                  <a:ext cx="144016" cy="144016"/>
                </a:xfrm>
                <a:prstGeom prst="line">
                  <a:avLst/>
                </a:prstGeom>
                <a:ln w="19050">
                  <a:solidFill>
                    <a:schemeClr val="bg1"/>
                  </a:solidFill>
                </a:ln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2" name="Gerader Verbinder 101">
                  <a:extLst>
                    <a:ext uri="{FF2B5EF4-FFF2-40B4-BE49-F238E27FC236}">
                      <a16:creationId xmlns:a16="http://schemas.microsoft.com/office/drawing/2014/main" id="{9D6E5B85-0A78-2B4C-4A31-0B0E9DABDE53}"/>
                    </a:ext>
                  </a:extLst>
                </p:cNvPr>
                <p:cNvCxnSpPr>
                  <a:cxnSpLocks/>
                </p:cNvCxnSpPr>
                <p:nvPr/>
              </p:nvCxnSpPr>
              <p:spPr bwMode="gray">
                <a:xfrm flipH="1">
                  <a:off x="6359080" y="2717304"/>
                  <a:ext cx="351655" cy="351656"/>
                </a:xfrm>
                <a:prstGeom prst="line">
                  <a:avLst/>
                </a:prstGeom>
                <a:ln w="19050">
                  <a:solidFill>
                    <a:schemeClr val="bg1"/>
                  </a:solidFill>
                </a:ln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grpSp>
          <p:nvGrpSpPr>
            <p:cNvPr id="43" name="Gruppieren 97">
              <a:extLst>
                <a:ext uri="{FF2B5EF4-FFF2-40B4-BE49-F238E27FC236}">
                  <a16:creationId xmlns:a16="http://schemas.microsoft.com/office/drawing/2014/main" id="{182F4689-89D3-7932-0760-51BEB1CE3B11}"/>
                </a:ext>
              </a:extLst>
            </p:cNvPr>
            <p:cNvGrpSpPr/>
            <p:nvPr/>
          </p:nvGrpSpPr>
          <p:grpSpPr>
            <a:xfrm>
              <a:off x="6676131" y="5746220"/>
              <a:ext cx="432000" cy="432000"/>
              <a:chOff x="6203950" y="2825279"/>
              <a:chExt cx="432000" cy="432000"/>
            </a:xfrm>
          </p:grpSpPr>
          <p:sp>
            <p:nvSpPr>
              <p:cNvPr id="44" name="Ellipse 98">
                <a:extLst>
                  <a:ext uri="{FF2B5EF4-FFF2-40B4-BE49-F238E27FC236}">
                    <a16:creationId xmlns:a16="http://schemas.microsoft.com/office/drawing/2014/main" id="{06D27CCF-6C87-7228-EBA4-0A61E401D3C3}"/>
                  </a:ext>
                </a:extLst>
              </p:cNvPr>
              <p:cNvSpPr/>
              <p:nvPr/>
            </p:nvSpPr>
            <p:spPr bwMode="gray">
              <a:xfrm>
                <a:off x="6203950" y="2825279"/>
                <a:ext cx="432000" cy="432000"/>
              </a:xfrm>
              <a:prstGeom prst="ellipse">
                <a:avLst/>
              </a:prstGeom>
              <a:solidFill>
                <a:schemeClr val="accent5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72000" rIns="72000" bIns="72000" rtlCol="0" anchor="ctr"/>
              <a:lstStyle/>
              <a:p>
                <a:pPr algn="ctr">
                  <a:spcBef>
                    <a:spcPts val="300"/>
                  </a:spcBef>
                  <a:spcAft>
                    <a:spcPts val="300"/>
                  </a:spcAft>
                </a:pPr>
                <a:endParaRPr lang="en-US" sz="1600" dirty="0" err="1">
                  <a:solidFill>
                    <a:schemeClr val="bg1"/>
                  </a:solidFill>
                </a:endParaRPr>
              </a:p>
            </p:txBody>
          </p:sp>
          <p:grpSp>
            <p:nvGrpSpPr>
              <p:cNvPr id="45" name="Gruppieren 99">
                <a:extLst>
                  <a:ext uri="{FF2B5EF4-FFF2-40B4-BE49-F238E27FC236}">
                    <a16:creationId xmlns:a16="http://schemas.microsoft.com/office/drawing/2014/main" id="{EE00D3F2-2939-1B16-D858-47D1679DAD34}"/>
                  </a:ext>
                </a:extLst>
              </p:cNvPr>
              <p:cNvGrpSpPr/>
              <p:nvPr/>
            </p:nvGrpSpPr>
            <p:grpSpPr>
              <a:xfrm>
                <a:off x="6302270" y="2953365"/>
                <a:ext cx="235360" cy="175828"/>
                <a:chOff x="6240016" y="2717304"/>
                <a:chExt cx="470719" cy="351656"/>
              </a:xfrm>
            </p:grpSpPr>
            <p:cxnSp>
              <p:nvCxnSpPr>
                <p:cNvPr id="46" name="Gerader Verbinder 100">
                  <a:extLst>
                    <a:ext uri="{FF2B5EF4-FFF2-40B4-BE49-F238E27FC236}">
                      <a16:creationId xmlns:a16="http://schemas.microsoft.com/office/drawing/2014/main" id="{65D6542B-0A5C-DFF7-86B5-951FA7BB3626}"/>
                    </a:ext>
                  </a:extLst>
                </p:cNvPr>
                <p:cNvCxnSpPr/>
                <p:nvPr/>
              </p:nvCxnSpPr>
              <p:spPr bwMode="gray">
                <a:xfrm>
                  <a:off x="6240016" y="2924944"/>
                  <a:ext cx="144016" cy="144016"/>
                </a:xfrm>
                <a:prstGeom prst="line">
                  <a:avLst/>
                </a:prstGeom>
                <a:ln w="19050">
                  <a:solidFill>
                    <a:schemeClr val="bg1"/>
                  </a:solidFill>
                </a:ln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7" name="Gerader Verbinder 101">
                  <a:extLst>
                    <a:ext uri="{FF2B5EF4-FFF2-40B4-BE49-F238E27FC236}">
                      <a16:creationId xmlns:a16="http://schemas.microsoft.com/office/drawing/2014/main" id="{5CB25644-04C9-C1EA-2836-82F09E61371F}"/>
                    </a:ext>
                  </a:extLst>
                </p:cNvPr>
                <p:cNvCxnSpPr>
                  <a:cxnSpLocks/>
                </p:cNvCxnSpPr>
                <p:nvPr/>
              </p:nvCxnSpPr>
              <p:spPr bwMode="gray">
                <a:xfrm flipH="1">
                  <a:off x="6359080" y="2717304"/>
                  <a:ext cx="351655" cy="351656"/>
                </a:xfrm>
                <a:prstGeom prst="line">
                  <a:avLst/>
                </a:prstGeom>
                <a:ln w="19050">
                  <a:solidFill>
                    <a:schemeClr val="bg1"/>
                  </a:solidFill>
                </a:ln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grpSp>
          <p:nvGrpSpPr>
            <p:cNvPr id="50" name="Gruppieren 99">
              <a:extLst>
                <a:ext uri="{FF2B5EF4-FFF2-40B4-BE49-F238E27FC236}">
                  <a16:creationId xmlns:a16="http://schemas.microsoft.com/office/drawing/2014/main" id="{12BDC64E-2478-8856-C3E6-507899D8F280}"/>
                </a:ext>
              </a:extLst>
            </p:cNvPr>
            <p:cNvGrpSpPr/>
            <p:nvPr/>
          </p:nvGrpSpPr>
          <p:grpSpPr>
            <a:xfrm>
              <a:off x="6774451" y="4051705"/>
              <a:ext cx="235360" cy="175828"/>
              <a:chOff x="6240016" y="2717304"/>
              <a:chExt cx="470719" cy="351656"/>
            </a:xfrm>
          </p:grpSpPr>
          <p:cxnSp>
            <p:nvCxnSpPr>
              <p:cNvPr id="51" name="Gerader Verbinder 100">
                <a:extLst>
                  <a:ext uri="{FF2B5EF4-FFF2-40B4-BE49-F238E27FC236}">
                    <a16:creationId xmlns:a16="http://schemas.microsoft.com/office/drawing/2014/main" id="{41375BE1-07D5-AD00-5BCF-69387F5DD1C8}"/>
                  </a:ext>
                </a:extLst>
              </p:cNvPr>
              <p:cNvCxnSpPr/>
              <p:nvPr/>
            </p:nvCxnSpPr>
            <p:spPr bwMode="gray">
              <a:xfrm>
                <a:off x="6240016" y="2924944"/>
                <a:ext cx="144016" cy="144016"/>
              </a:xfrm>
              <a:prstGeom prst="line">
                <a:avLst/>
              </a:prstGeom>
              <a:ln w="19050">
                <a:solidFill>
                  <a:schemeClr val="bg1"/>
                </a:soli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2" name="Gerader Verbinder 101">
                <a:extLst>
                  <a:ext uri="{FF2B5EF4-FFF2-40B4-BE49-F238E27FC236}">
                    <a16:creationId xmlns:a16="http://schemas.microsoft.com/office/drawing/2014/main" id="{0D08A6A2-1888-C553-F46C-079592FC225C}"/>
                  </a:ext>
                </a:extLst>
              </p:cNvPr>
              <p:cNvCxnSpPr>
                <a:cxnSpLocks/>
              </p:cNvCxnSpPr>
              <p:nvPr/>
            </p:nvCxnSpPr>
            <p:spPr bwMode="gray">
              <a:xfrm flipH="1">
                <a:off x="6359080" y="2717304"/>
                <a:ext cx="351655" cy="351656"/>
              </a:xfrm>
              <a:prstGeom prst="line">
                <a:avLst/>
              </a:prstGeom>
              <a:ln w="19050">
                <a:solidFill>
                  <a:schemeClr val="bg1"/>
                </a:soli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</p:grpSp>
    </p:spTree>
    <p:extLst>
      <p:ext uri="{BB962C8B-B14F-4D97-AF65-F5344CB8AC3E}">
        <p14:creationId xmlns:p14="http://schemas.microsoft.com/office/powerpoint/2010/main" val="3790565636"/>
      </p:ext>
    </p:extLst>
  </p:cSld>
  <p:clrMapOvr>
    <a:masterClrMapping/>
  </p:clrMapOvr>
  <p:transition>
    <p:fade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75945E12-703B-6B9C-B3B3-2EFEA65F687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21140751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3" imgW="7772400" imgH="10058400" progId="TCLayout.ActiveDocument.1">
                  <p:embed/>
                </p:oleObj>
              </mc:Choice>
              <mc:Fallback>
                <p:oleObj name="think-cell Slide" r:id="rId2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mc:AlternateContent xmlns:mc="http://schemas.openxmlformats.org/markup-compatibility/2006" xmlns:a14="http://schemas.microsoft.com/office/drawing/2010/main">
        <mc:Choice Requires="a14">
          <p:sp>
            <p:nvSpPr>
              <p:cNvPr id="2" name="Text Placeholder 1">
                <a:extLst>
                  <a:ext uri="{FF2B5EF4-FFF2-40B4-BE49-F238E27FC236}">
                    <a16:creationId xmlns:a16="http://schemas.microsoft.com/office/drawing/2014/main" id="{F0EBEAFA-0E07-B320-0FB8-74B6DF7D6E68}"/>
                  </a:ext>
                </a:extLst>
              </p:cNvPr>
              <p:cNvSpPr>
                <a:spLocks noGrp="1"/>
              </p:cNvSpPr>
              <p:nvPr>
                <p:ph type="body" sz="quarter" idx="13"/>
              </p:nvPr>
            </p:nvSpPr>
            <p:spPr>
              <a:xfrm>
                <a:off x="371475" y="1393484"/>
                <a:ext cx="5610583" cy="1223962"/>
              </a:xfrm>
            </p:spPr>
            <p:txBody>
              <a:bodyPr/>
              <a:lstStyle/>
              <a:p>
                <a:r>
                  <a:rPr lang="en-GB" sz="2000" b="1" dirty="0">
                    <a:solidFill>
                      <a:schemeClr val="accent1"/>
                    </a:solidFill>
                  </a:rPr>
                  <a:t>Latest theoretical prediction for </a:t>
                </a:r>
                <a14:m>
                  <m:oMath xmlns:m="http://schemas.openxmlformats.org/officeDocument/2006/math">
                    <m:r>
                      <a:rPr lang="en-US" sz="2000" b="1" i="0" smtClean="0">
                        <a:solidFill>
                          <a:schemeClr val="accent1"/>
                        </a:solidFill>
                        <a:latin typeface="Cambria Math" panose="02040503050406030204" pitchFamily="18" charset="0"/>
                      </a:rPr>
                      <m:t>𝚫𝚪</m:t>
                    </m:r>
                    <m:r>
                      <a:rPr lang="en-US" sz="2000" b="1" i="0" smtClean="0">
                        <a:solidFill>
                          <a:schemeClr val="accent1"/>
                        </a:solidFill>
                        <a:latin typeface="Cambria Math" panose="02040503050406030204" pitchFamily="18" charset="0"/>
                      </a:rPr>
                      <m:t>:</m:t>
                    </m:r>
                  </m:oMath>
                </a14:m>
                <a:endParaRPr lang="en-GB" b="1" dirty="0">
                  <a:solidFill>
                    <a:schemeClr val="accent1"/>
                  </a:solidFill>
                </a:endParaRPr>
              </a:p>
              <a:p>
                <a:endParaRPr lang="en-GB" b="1" dirty="0">
                  <a:solidFill>
                    <a:schemeClr val="accent1"/>
                  </a:solidFill>
                </a:endParaRPr>
              </a:p>
              <a:p>
                <a:endParaRPr lang="en-GB" b="1" dirty="0">
                  <a:solidFill>
                    <a:schemeClr val="accent1"/>
                  </a:solidFill>
                </a:endParaRPr>
              </a:p>
              <a:p>
                <a:endParaRPr lang="en-GB" b="1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2" name="Text Placeholder 1">
                <a:extLst>
                  <a:ext uri="{FF2B5EF4-FFF2-40B4-BE49-F238E27FC236}">
                    <a16:creationId xmlns:a16="http://schemas.microsoft.com/office/drawing/2014/main" id="{F0EBEAFA-0E07-B320-0FB8-74B6DF7D6E68}"/>
                  </a:ext>
                </a:extLst>
              </p:cNvPr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type="body" sz="quarter" idx="13"/>
              </p:nvPr>
            </p:nvSpPr>
            <p:spPr>
              <a:xfrm>
                <a:off x="371475" y="1393484"/>
                <a:ext cx="5610583" cy="1223962"/>
              </a:xfrm>
              <a:blipFill>
                <a:blip r:embed="rId25"/>
                <a:stretch>
                  <a:fillRect l="-2941" t="-6186"/>
                </a:stretch>
              </a:blipFill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5" name="Title 4">
            <a:extLst>
              <a:ext uri="{FF2B5EF4-FFF2-40B4-BE49-F238E27FC236}">
                <a16:creationId xmlns:a16="http://schemas.microsoft.com/office/drawing/2014/main" id="{C0840C1F-6C07-3DEB-F218-C9DF8F7F0F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/>
              <a:t>With NNLO corrections,        and        can be calculated to high precision.</a:t>
            </a:r>
          </a:p>
        </p:txBody>
      </p: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F0A220E6-04D2-6AFB-4AE6-63B38710AA80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r>
              <a:rPr lang="de-DE" dirty="0"/>
              <a:t>08/07/2025</a:t>
            </a:r>
            <a:endParaRPr lang="en-US" dirty="0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29705F4D-2C21-B674-8D0E-5DA5D848FF14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US" dirty="0"/>
              <a:t>Pascal Reeck – B meson mixing at NNLO</a:t>
            </a:r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38900531-9086-370D-EDEC-0F3B3B02285B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776FC98F-84AD-404B-BCCB-49E092AA6DE0}" type="slidenum">
              <a:rPr lang="en-US" smtClean="0"/>
              <a:pPr/>
              <a:t>12</a:t>
            </a:fld>
            <a:endParaRPr lang="en-US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8" name="TextBox 7">
                <a:extLst>
                  <a:ext uri="{FF2B5EF4-FFF2-40B4-BE49-F238E27FC236}">
                    <a16:creationId xmlns:a16="http://schemas.microsoft.com/office/drawing/2014/main" id="{BFEC563C-BF1C-9B8F-2D57-2B8E62CC4979}"/>
                  </a:ext>
                </a:extLst>
              </p:cNvPr>
              <p:cNvSpPr txBox="1"/>
              <p:nvPr/>
            </p:nvSpPr>
            <p:spPr bwMode="gray">
              <a:xfrm>
                <a:off x="4669252" y="213051"/>
                <a:ext cx="1080000" cy="646331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3500" b="1" i="0" smtClean="0">
                          <a:latin typeface="Cambria Math" panose="02040503050406030204" pitchFamily="18" charset="0"/>
                        </a:rPr>
                        <m:t>𝚫𝚪</m:t>
                      </m:r>
                    </m:oMath>
                  </m:oMathPara>
                </a14:m>
                <a:endParaRPr lang="en-GB" sz="3500" b="1" dirty="0"/>
              </a:p>
            </p:txBody>
          </p:sp>
        </mc:Choice>
        <mc:Fallback xmlns="">
          <p:sp>
            <p:nvSpPr>
              <p:cNvPr id="8" name="TextBox 7">
                <a:extLst>
                  <a:ext uri="{FF2B5EF4-FFF2-40B4-BE49-F238E27FC236}">
                    <a16:creationId xmlns:a16="http://schemas.microsoft.com/office/drawing/2014/main" id="{BFEC563C-BF1C-9B8F-2D57-2B8E62CC4979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gray">
              <a:xfrm>
                <a:off x="4669252" y="213051"/>
                <a:ext cx="1080000" cy="646331"/>
              </a:xfrm>
              <a:prstGeom prst="rect">
                <a:avLst/>
              </a:prstGeom>
              <a:blipFill>
                <a:blip r:embed="rId2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7" name="Picture 6">
            <a:extLst>
              <a:ext uri="{FF2B5EF4-FFF2-40B4-BE49-F238E27FC236}">
                <a16:creationId xmlns:a16="http://schemas.microsoft.com/office/drawing/2014/main" id="{E6ECD2B5-0119-6E84-B94B-04AEA0FCD29B}"/>
              </a:ext>
            </a:extLst>
          </p:cNvPr>
          <p:cNvPicPr>
            <a:picLocks noChangeAspect="1"/>
          </p:cNvPicPr>
          <p:nvPr/>
        </p:nvPicPr>
        <p:blipFill>
          <a:blip r:embed="rId27"/>
          <a:srcRect/>
          <a:stretch/>
        </p:blipFill>
        <p:spPr>
          <a:xfrm>
            <a:off x="378131" y="2614633"/>
            <a:ext cx="5187217" cy="3874460"/>
          </a:xfrm>
          <a:prstGeom prst="rect">
            <a:avLst/>
          </a:prstGeom>
        </p:spPr>
      </p:pic>
      <p:pic>
        <p:nvPicPr>
          <p:cNvPr id="18" name="Picture 17" descr="\documentclass{article}&#10;\usepackage{amsmath}&#10;\usepackage{xcolor}&#10;\pagestyle{empty}&#10;\begin{document}&#10;&#10;\definecolor{KITblue}{RGB}{0, 45, 76}&#10;\definecolor{KITlightblue}{RGB}{35, 161, 224}&#10;\definecolor{KITpurple}{RGB}{163, 16, 124}&#10;&#10;\begin{equation*}&#10;\color{KITblue}&#10;\Delta\Gamma_s = {{(0.077 \pm 0.016)}} ~\mbox{ps}^{-1}&#10;\end{equation*}&#10;&#10;&#10;\end{document}" title="IguanaTex Picture Display">
            <a:extLst>
              <a:ext uri="{FF2B5EF4-FFF2-40B4-BE49-F238E27FC236}">
                <a16:creationId xmlns:a16="http://schemas.microsoft.com/office/drawing/2014/main" id="{99E5B30A-8C77-D32B-1412-CC46E3001D0A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28"/>
          <a:stretch>
            <a:fillRect/>
          </a:stretch>
        </p:blipFill>
        <p:spPr>
          <a:xfrm>
            <a:off x="1070142" y="1801277"/>
            <a:ext cx="3027680" cy="286512"/>
          </a:xfrm>
          <a:prstGeom prst="rect">
            <a:avLst/>
          </a:prstGeom>
        </p:spPr>
      </p:pic>
      <p:pic>
        <p:nvPicPr>
          <p:cNvPr id="6" name="Picture 5" descr="\documentclass{article}&#10;\usepackage{amsmath}&#10;\usepackage{xcolor}&#10;\pagestyle{empty}&#10;\begin{document}&#10;&#10;\definecolor{KITblue}{RGB}{0, 45, 76}&#10;\definecolor{KITlightblue}{RGB}{35, 161, 224}&#10;\definecolor{KITpurple}{RGB}{163, 16, 124}&#10;&#10;\begin{equation*}&#10;\color{KITblue}&#10;a_{\text{fs}}^s = \left({2.28 \pm 0.14} \right) \times 10^{-5}&#10;\end{equation*}&#10;&#10;&#10;\end{document}" title="IguanaTex Picture Display">
            <a:extLst>
              <a:ext uri="{FF2B5EF4-FFF2-40B4-BE49-F238E27FC236}">
                <a16:creationId xmlns:a16="http://schemas.microsoft.com/office/drawing/2014/main" id="{FA0B558A-5A64-8CEB-C9A7-A6F9CF9AE16C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29"/>
          <a:stretch>
            <a:fillRect/>
          </a:stretch>
        </p:blipFill>
        <p:spPr>
          <a:xfrm>
            <a:off x="6879529" y="1814925"/>
            <a:ext cx="2834640" cy="286512"/>
          </a:xfrm>
          <a:prstGeom prst="rect">
            <a:avLst/>
          </a:prstGeom>
        </p:spPr>
      </p:pic>
      <p:pic>
        <p:nvPicPr>
          <p:cNvPr id="16" name="Picture 15" descr="\documentclass{article}&#10;\usepackage{amsmath}&#10;\usepackage{xcolor}&#10;\pagestyle{empty}&#10;\begin{document}&#10;&#10;\definecolor{KITblue}{RGB}{0, 45, 76}&#10;\definecolor{KITlightblue}{RGB}{35, 161, 224}&#10;\definecolor{KITpurple}{RGB}{163, 16, 124}&#10;&#10;\begin{equation*}&#10;\color{KITblue}&#10;\Delta\Gamma_d = {{(0.00211 \pm 0.00045)}} ~\mbox{ps}^{-1}&#10;\end{equation*}&#10;&#10;&#10;\end{document}" title="IguanaTex Picture Display">
            <a:extLst>
              <a:ext uri="{FF2B5EF4-FFF2-40B4-BE49-F238E27FC236}">
                <a16:creationId xmlns:a16="http://schemas.microsoft.com/office/drawing/2014/main" id="{21103F5E-0061-4741-EB30-B0B38BD63255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30"/>
          <a:stretch>
            <a:fillRect/>
          </a:stretch>
        </p:blipFill>
        <p:spPr>
          <a:xfrm>
            <a:off x="1070142" y="2182315"/>
            <a:ext cx="3543808" cy="286512"/>
          </a:xfrm>
          <a:prstGeom prst="rect">
            <a:avLst/>
          </a:prstGeom>
        </p:spPr>
      </p:pic>
      <p:pic>
        <p:nvPicPr>
          <p:cNvPr id="14" name="Picture 13" descr="\documentclass{article}&#10;\usepackage{amsmath}&#10;\usepackage{xcolor}&#10;\pagestyle{empty}&#10;\begin{document}&#10;&#10;\definecolor{KITblue}{RGB}{0, 45, 76}&#10;\definecolor{KITlightblue}{RGB}{35, 161, 224}&#10;\definecolor{KITpurple}{RGB}{163, 16, 124}&#10;&#10;\begin{equation*}&#10;\color{KITblue}&#10;a_{\text{fs}}^d = - \left({5.21 \pm 0.32} \right) \times 10^{-4}&#10;\end{equation*}&#10;&#10;&#10;\end{document}" title="IguanaTex Picture Display">
            <a:extLst>
              <a:ext uri="{FF2B5EF4-FFF2-40B4-BE49-F238E27FC236}">
                <a16:creationId xmlns:a16="http://schemas.microsoft.com/office/drawing/2014/main" id="{EDDCA9EC-8CBB-2708-6667-99D72950FAF3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31"/>
          <a:stretch>
            <a:fillRect/>
          </a:stretch>
        </p:blipFill>
        <p:spPr>
          <a:xfrm>
            <a:off x="6879529" y="2188057"/>
            <a:ext cx="3076448" cy="292608"/>
          </a:xfrm>
          <a:prstGeom prst="rect">
            <a:avLst/>
          </a:prstGeom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39" name="TextBox 38">
                <a:extLst>
                  <a:ext uri="{FF2B5EF4-FFF2-40B4-BE49-F238E27FC236}">
                    <a16:creationId xmlns:a16="http://schemas.microsoft.com/office/drawing/2014/main" id="{BC5A590C-53E0-67F6-F5ED-3B6F5E04E976}"/>
                  </a:ext>
                </a:extLst>
              </p:cNvPr>
              <p:cNvSpPr txBox="1"/>
              <p:nvPr/>
            </p:nvSpPr>
            <p:spPr bwMode="gray">
              <a:xfrm>
                <a:off x="6309966" y="199799"/>
                <a:ext cx="1080000" cy="646331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sz="3500" b="1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3500" b="1" i="0" smtClean="0">
                              <a:latin typeface="Cambria Math" panose="02040503050406030204" pitchFamily="18" charset="0"/>
                            </a:rPr>
                            <m:t>𝐚</m:t>
                          </m:r>
                        </m:e>
                        <m:sub>
                          <m:r>
                            <a:rPr lang="en-US" sz="3500" b="1" i="0" smtClean="0">
                              <a:latin typeface="Cambria Math" panose="02040503050406030204" pitchFamily="18" charset="0"/>
                            </a:rPr>
                            <m:t>𝐟𝐬</m:t>
                          </m:r>
                        </m:sub>
                      </m:sSub>
                    </m:oMath>
                  </m:oMathPara>
                </a14:m>
                <a:endParaRPr lang="en-GB" sz="3500" b="1" dirty="0"/>
              </a:p>
            </p:txBody>
          </p:sp>
        </mc:Choice>
        <mc:Fallback xmlns="">
          <p:sp>
            <p:nvSpPr>
              <p:cNvPr id="39" name="TextBox 38">
                <a:extLst>
                  <a:ext uri="{FF2B5EF4-FFF2-40B4-BE49-F238E27FC236}">
                    <a16:creationId xmlns:a16="http://schemas.microsoft.com/office/drawing/2014/main" id="{BC5A590C-53E0-67F6-F5ED-3B6F5E04E976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gray">
              <a:xfrm>
                <a:off x="6309966" y="199799"/>
                <a:ext cx="1080000" cy="646331"/>
              </a:xfrm>
              <a:prstGeom prst="rect">
                <a:avLst/>
              </a:prstGeom>
              <a:blipFill>
                <a:blip r:embed="rId32"/>
                <a:stretch>
                  <a:fillRect b="-5769"/>
                </a:stretch>
              </a:blipFill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  <p:graphicFrame>
        <p:nvGraphicFramePr>
          <p:cNvPr id="159" name="Chart 158">
            <a:extLst>
              <a:ext uri="{FF2B5EF4-FFF2-40B4-BE49-F238E27FC236}">
                <a16:creationId xmlns:a16="http://schemas.microsoft.com/office/drawing/2014/main" id="{75B7D81B-EFD6-8DF5-8A7B-76B20A2E5BAF}"/>
              </a:ext>
            </a:extLst>
          </p:cNvPr>
          <p:cNvGraphicFramePr/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603351756"/>
              </p:ext>
            </p:extLst>
          </p:nvPr>
        </p:nvGraphicFramePr>
        <p:xfrm>
          <a:off x="6716713" y="3824288"/>
          <a:ext cx="3079750" cy="22225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3"/>
          </a:graphicData>
        </a:graphic>
      </p:graphicFrame>
      <p:cxnSp>
        <p:nvCxnSpPr>
          <p:cNvPr id="134" name="Straight Connector 133">
            <a:extLst>
              <a:ext uri="{FF2B5EF4-FFF2-40B4-BE49-F238E27FC236}">
                <a16:creationId xmlns:a16="http://schemas.microsoft.com/office/drawing/2014/main" id="{F3DC0415-B9D1-B541-60B3-D7A6597AB31B}"/>
              </a:ext>
            </a:extLst>
          </p:cNvPr>
          <p:cNvCxnSpPr/>
          <p:nvPr>
            <p:custDataLst>
              <p:tags r:id="rId7"/>
            </p:custDataLst>
          </p:nvPr>
        </p:nvCxnSpPr>
        <p:spPr bwMode="auto">
          <a:xfrm>
            <a:off x="7527925" y="3651250"/>
            <a:ext cx="1457325" cy="768350"/>
          </a:xfrm>
          <a:prstGeom prst="line">
            <a:avLst/>
          </a:prstGeom>
          <a:ln w="285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5" name="Straight Connector 54">
            <a:extLst>
              <a:ext uri="{FF2B5EF4-FFF2-40B4-BE49-F238E27FC236}">
                <a16:creationId xmlns:a16="http://schemas.microsoft.com/office/drawing/2014/main" id="{B7037F35-B66E-1367-E574-9D0DA649E75D}"/>
              </a:ext>
            </a:extLst>
          </p:cNvPr>
          <p:cNvCxnSpPr>
            <a:cxnSpLocks/>
          </p:cNvCxnSpPr>
          <p:nvPr>
            <p:custDataLst>
              <p:tags r:id="rId8"/>
            </p:custDataLst>
          </p:nvPr>
        </p:nvCxnSpPr>
        <p:spPr bwMode="auto">
          <a:xfrm flipH="1">
            <a:off x="9313863" y="5832475"/>
            <a:ext cx="80963" cy="117475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0" name="Textplatzhalter 2">
            <a:extLst>
              <a:ext uri="{FF2B5EF4-FFF2-40B4-BE49-F238E27FC236}">
                <a16:creationId xmlns:a16="http://schemas.microsoft.com/office/drawing/2014/main" id="{B78090D9-7FEB-FFE4-B040-A66CF19922B4}"/>
              </a:ext>
            </a:extLst>
          </p:cNvPr>
          <p:cNvSpPr txBox="1">
            <a:spLocks/>
          </p:cNvSpPr>
          <p:nvPr>
            <p:custDataLst>
              <p:tags r:id="rId9"/>
            </p:custDataLst>
          </p:nvPr>
        </p:nvSpPr>
        <p:spPr bwMode="auto">
          <a:xfrm>
            <a:off x="9420225" y="5726113"/>
            <a:ext cx="128111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70000" indent="-27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+mj-lt"/>
              <a:buAutoNum type="arabicPeriod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Font typeface="+mj-lt"/>
              <a:buAutoNum type="alphaLcPeriod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85000"/>
              </a:lnSpc>
              <a:spcBef>
                <a:spcPts val="120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b="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7E873709-65CA-4866-93BD-5ADF90996983}" type="datetime'''R''e''''m''''''''''''''a''inin''''''''g'' i''n''pu''t'''''''">
              <a:rPr lang="en-GB" altLang="en-US" sz="1400" smtClean="0"/>
              <a:pPr>
                <a:spcBef>
                  <a:spcPct val="0"/>
                </a:spcBef>
                <a:spcAft>
                  <a:spcPct val="0"/>
                </a:spcAft>
              </a:pPr>
              <a:t>Remaining input</a:t>
            </a:fld>
            <a:endParaRPr lang="en-GB" sz="1400" dirty="0"/>
          </a:p>
        </p:txBody>
      </p:sp>
      <p:sp>
        <p:nvSpPr>
          <p:cNvPr id="48" name="Textplatzhalter 2">
            <a:extLst>
              <a:ext uri="{FF2B5EF4-FFF2-40B4-BE49-F238E27FC236}">
                <a16:creationId xmlns:a16="http://schemas.microsoft.com/office/drawing/2014/main" id="{7C264B79-A602-3332-A751-221DC46E13F4}"/>
              </a:ext>
            </a:extLst>
          </p:cNvPr>
          <p:cNvSpPr txBox="1">
            <a:spLocks/>
          </p:cNvSpPr>
          <p:nvPr>
            <p:custDataLst>
              <p:tags r:id="rId10"/>
            </p:custDataLst>
          </p:nvPr>
        </p:nvSpPr>
        <p:spPr bwMode="auto">
          <a:xfrm>
            <a:off x="8732838" y="6115050"/>
            <a:ext cx="50641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70000" indent="-27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+mj-lt"/>
              <a:buAutoNum type="arabicPeriod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Font typeface="+mj-lt"/>
              <a:buAutoNum type="alphaLcPeriod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85000"/>
              </a:lnSpc>
              <a:spcBef>
                <a:spcPts val="120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b="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3AE2C8BB-6D2D-41B2-BC45-C6B2F14B1BCB}" type="datetime'''N''''''''''''''''''''''''''''NL''''''O'''''''">
              <a:rPr lang="en-GB" altLang="en-US" sz="1400" smtClean="0"/>
              <a:pPr/>
              <a:t>NNLO</a:t>
            </a:fld>
            <a:endParaRPr lang="en-GB" sz="1400" dirty="0"/>
          </a:p>
        </p:txBody>
      </p:sp>
      <p:sp>
        <p:nvSpPr>
          <p:cNvPr id="54" name="Textplatzhalter 2">
            <a:extLst>
              <a:ext uri="{FF2B5EF4-FFF2-40B4-BE49-F238E27FC236}">
                <a16:creationId xmlns:a16="http://schemas.microsoft.com/office/drawing/2014/main" id="{CCAFD4EF-0C92-DD5B-E9B0-60490A060DDF}"/>
              </a:ext>
            </a:extLst>
          </p:cNvPr>
          <p:cNvSpPr txBox="1">
            <a:spLocks/>
          </p:cNvSpPr>
          <p:nvPr>
            <p:custDataLst>
              <p:tags r:id="rId11"/>
            </p:custDataLst>
          </p:nvPr>
        </p:nvSpPr>
        <p:spPr bwMode="gray">
          <a:xfrm>
            <a:off x="7373938" y="5843588"/>
            <a:ext cx="307975" cy="212725"/>
          </a:xfrm>
          <a:prstGeom prst="rect">
            <a:avLst/>
          </a:prstGeom>
          <a:solidFill>
            <a:srgbClr val="969696"/>
          </a:solidFill>
          <a:ln>
            <a:noFill/>
          </a:ln>
          <a:effectLst/>
        </p:spPr>
        <p:txBody>
          <a:bodyPr vert="horz" wrap="none" lIns="25400" tIns="0" rIns="2540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70000" indent="-27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+mj-lt"/>
              <a:buAutoNum type="arabicPeriod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Font typeface="+mj-lt"/>
              <a:buAutoNum type="alphaLcPeriod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85000"/>
              </a:lnSpc>
              <a:spcBef>
                <a:spcPts val="120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b="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D0B7A8CC-DF50-4890-837A-C1416E351770}" type="datetime'1''''''''%'''''">
              <a:rPr lang="en-GB" altLang="en-US" sz="1400" smtClean="0">
                <a:solidFill>
                  <a:schemeClr val="bg1"/>
                </a:solidFill>
                <a:effectLst/>
              </a:rPr>
              <a:pPr/>
              <a:t>1%</a:t>
            </a:fld>
            <a:endParaRPr lang="en-GB" sz="1400" dirty="0">
              <a:solidFill>
                <a:schemeClr val="bg1"/>
              </a:solidFill>
            </a:endParaRPr>
          </a:p>
        </p:txBody>
      </p:sp>
      <p:sp>
        <p:nvSpPr>
          <p:cNvPr id="38" name="Textplatzhalter 2">
            <a:extLst>
              <a:ext uri="{FF2B5EF4-FFF2-40B4-BE49-F238E27FC236}">
                <a16:creationId xmlns:a16="http://schemas.microsoft.com/office/drawing/2014/main" id="{CFD05276-998A-4167-0015-F5E3686E4E21}"/>
              </a:ext>
            </a:extLst>
          </p:cNvPr>
          <p:cNvSpPr txBox="1">
            <a:spLocks/>
          </p:cNvSpPr>
          <p:nvPr>
            <p:custDataLst>
              <p:tags r:id="rId12"/>
            </p:custDataLst>
          </p:nvPr>
        </p:nvSpPr>
        <p:spPr bwMode="auto">
          <a:xfrm>
            <a:off x="9420225" y="5292725"/>
            <a:ext cx="224631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70000" indent="-27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+mj-lt"/>
              <a:buAutoNum type="arabicPeriod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Font typeface="+mj-lt"/>
              <a:buAutoNum type="alphaLcPeriod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85000"/>
              </a:lnSpc>
              <a:spcBef>
                <a:spcPts val="120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b="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BE00987E-5590-432C-AF75-78C4A5DF0D11}" type="datetime'Sub''-''le''''ad''in''g'''''' m''at''rix'' elemen''t''s'''''''">
              <a:rPr lang="en-GB" altLang="en-US" sz="1400" smtClean="0"/>
              <a:pPr>
                <a:spcBef>
                  <a:spcPct val="0"/>
                </a:spcBef>
                <a:spcAft>
                  <a:spcPct val="0"/>
                </a:spcAft>
              </a:pPr>
              <a:t>Sub-leading matrix elements</a:t>
            </a:fld>
            <a:endParaRPr lang="en-GB" sz="1400" dirty="0"/>
          </a:p>
        </p:txBody>
      </p:sp>
      <p:sp>
        <p:nvSpPr>
          <p:cNvPr id="33" name="Textplatzhalter 2">
            <a:extLst>
              <a:ext uri="{FF2B5EF4-FFF2-40B4-BE49-F238E27FC236}">
                <a16:creationId xmlns:a16="http://schemas.microsoft.com/office/drawing/2014/main" id="{98BE02BD-DA9E-C188-78B1-2A2D60AF0090}"/>
              </a:ext>
            </a:extLst>
          </p:cNvPr>
          <p:cNvSpPr txBox="1">
            <a:spLocks/>
          </p:cNvSpPr>
          <p:nvPr>
            <p:custDataLst>
              <p:tags r:id="rId13"/>
            </p:custDataLst>
          </p:nvPr>
        </p:nvSpPr>
        <p:spPr bwMode="auto">
          <a:xfrm>
            <a:off x="7339013" y="6115050"/>
            <a:ext cx="37782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70000" indent="-27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+mj-lt"/>
              <a:buAutoNum type="arabicPeriod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Font typeface="+mj-lt"/>
              <a:buAutoNum type="alphaLcPeriod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85000"/>
              </a:lnSpc>
              <a:spcBef>
                <a:spcPts val="120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b="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A7955A02-8D62-45CC-BD6F-A57E2B83F926}" type="datetime'''''''''''''''''''''''''''''''''''N''LO'''">
              <a:rPr lang="en-GB" altLang="en-US" sz="1400" smtClean="0"/>
              <a:pPr/>
              <a:t>NLO</a:t>
            </a:fld>
            <a:endParaRPr lang="en-GB" sz="1400" dirty="0"/>
          </a:p>
        </p:txBody>
      </p:sp>
      <p:sp>
        <p:nvSpPr>
          <p:cNvPr id="84" name="Textplatzhalter 2">
            <a:extLst>
              <a:ext uri="{FF2B5EF4-FFF2-40B4-BE49-F238E27FC236}">
                <a16:creationId xmlns:a16="http://schemas.microsoft.com/office/drawing/2014/main" id="{224D31E6-9F04-A0F5-6CA3-B7CE9D50DE85}"/>
              </a:ext>
            </a:extLst>
          </p:cNvPr>
          <p:cNvSpPr txBox="1">
            <a:spLocks/>
          </p:cNvSpPr>
          <p:nvPr>
            <p:custDataLst>
              <p:tags r:id="rId14"/>
            </p:custDataLst>
          </p:nvPr>
        </p:nvSpPr>
        <p:spPr bwMode="gray">
          <a:xfrm>
            <a:off x="7324725" y="5292725"/>
            <a:ext cx="4064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70000" indent="-27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+mj-lt"/>
              <a:buAutoNum type="arabicPeriod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Font typeface="+mj-lt"/>
              <a:buAutoNum type="alphaLcPeriod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85000"/>
              </a:lnSpc>
              <a:spcBef>
                <a:spcPts val="120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b="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3A0C687A-5FC1-4247-B4F0-26B4445C33A8}" type="datetime'''5''''''''''''''''2''''''''''%'''''''''''''''''''''''''''">
              <a:rPr lang="en-GB" altLang="en-US" sz="1400" smtClean="0"/>
              <a:pPr/>
              <a:t>52%</a:t>
            </a:fld>
            <a:endParaRPr lang="en-GB" sz="1400" dirty="0"/>
          </a:p>
        </p:txBody>
      </p:sp>
      <p:sp>
        <p:nvSpPr>
          <p:cNvPr id="90" name="Textplatzhalter 2">
            <a:extLst>
              <a:ext uri="{FF2B5EF4-FFF2-40B4-BE49-F238E27FC236}">
                <a16:creationId xmlns:a16="http://schemas.microsoft.com/office/drawing/2014/main" id="{4F4B6706-A182-A990-D52F-AC581094459F}"/>
              </a:ext>
            </a:extLst>
          </p:cNvPr>
          <p:cNvSpPr txBox="1">
            <a:spLocks/>
          </p:cNvSpPr>
          <p:nvPr>
            <p:custDataLst>
              <p:tags r:id="rId15"/>
            </p:custDataLst>
          </p:nvPr>
        </p:nvSpPr>
        <p:spPr bwMode="gray">
          <a:xfrm>
            <a:off x="7324725" y="4278313"/>
            <a:ext cx="4064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70000" indent="-27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+mj-lt"/>
              <a:buAutoNum type="arabicPeriod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Font typeface="+mj-lt"/>
              <a:buAutoNum type="alphaLcPeriod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85000"/>
              </a:lnSpc>
              <a:spcBef>
                <a:spcPts val="120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b="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663ED1DE-D647-4C80-A6AC-8EEBCA210576}" type="datetime'''''''4''''''''''''''7''''''''''''''%'''''">
              <a:rPr lang="en-GB" altLang="en-US" sz="1400" smtClean="0">
                <a:solidFill>
                  <a:schemeClr val="bg1"/>
                </a:solidFill>
              </a:rPr>
              <a:pPr/>
              <a:t>47%</a:t>
            </a:fld>
            <a:endParaRPr lang="en-GB" sz="1400" dirty="0">
              <a:solidFill>
                <a:schemeClr val="bg1"/>
              </a:solidFill>
            </a:endParaRPr>
          </a:p>
        </p:txBody>
      </p:sp>
      <p:sp>
        <p:nvSpPr>
          <p:cNvPr id="95" name="Textplatzhalter 2">
            <a:extLst>
              <a:ext uri="{FF2B5EF4-FFF2-40B4-BE49-F238E27FC236}">
                <a16:creationId xmlns:a16="http://schemas.microsoft.com/office/drawing/2014/main" id="{081AE2E9-98D1-21FC-D36A-2E39FE002012}"/>
              </a:ext>
            </a:extLst>
          </p:cNvPr>
          <p:cNvSpPr txBox="1">
            <a:spLocks/>
          </p:cNvSpPr>
          <p:nvPr>
            <p:custDataLst>
              <p:tags r:id="rId16"/>
            </p:custDataLst>
          </p:nvPr>
        </p:nvSpPr>
        <p:spPr bwMode="gray">
          <a:xfrm>
            <a:off x="8782050" y="5292725"/>
            <a:ext cx="4064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70000" indent="-27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+mj-lt"/>
              <a:buAutoNum type="arabicPeriod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Font typeface="+mj-lt"/>
              <a:buAutoNum type="alphaLcPeriod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85000"/>
              </a:lnSpc>
              <a:spcBef>
                <a:spcPts val="120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b="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80EDBC33-42C6-4A14-8E01-D9EF62871822}" type="datetime'''''''''''''8''''''''''3%'">
              <a:rPr lang="en-GB" altLang="en-US" sz="1400" smtClean="0"/>
              <a:pPr/>
              <a:t>83%</a:t>
            </a:fld>
            <a:endParaRPr lang="en-GB" sz="1400" dirty="0"/>
          </a:p>
        </p:txBody>
      </p:sp>
      <p:sp>
        <p:nvSpPr>
          <p:cNvPr id="100" name="Textplatzhalter 2">
            <a:extLst>
              <a:ext uri="{FF2B5EF4-FFF2-40B4-BE49-F238E27FC236}">
                <a16:creationId xmlns:a16="http://schemas.microsoft.com/office/drawing/2014/main" id="{0F9C07AD-2C63-A685-D493-819729E33A63}"/>
              </a:ext>
            </a:extLst>
          </p:cNvPr>
          <p:cNvSpPr txBox="1">
            <a:spLocks/>
          </p:cNvSpPr>
          <p:nvPr>
            <p:custDataLst>
              <p:tags r:id="rId17"/>
            </p:custDataLst>
          </p:nvPr>
        </p:nvSpPr>
        <p:spPr bwMode="gray">
          <a:xfrm>
            <a:off x="8782050" y="4662488"/>
            <a:ext cx="4064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3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70000" indent="-27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+mj-lt"/>
              <a:buAutoNum type="arabicPeriod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Font typeface="+mj-lt"/>
              <a:buAutoNum type="alphaLcPeriod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85000"/>
              </a:lnSpc>
              <a:spcBef>
                <a:spcPts val="120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b="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ED58BBD8-41F0-49A8-AC0F-E9CF84B3EF45}" type="datetime'''''''''''''''''''''''''1''''''''''''''''''''5''''''''%'''''">
              <a:rPr lang="en-GB" altLang="en-US" sz="1400" smtClean="0">
                <a:solidFill>
                  <a:schemeClr val="bg1"/>
                </a:solidFill>
              </a:rPr>
              <a:pPr/>
              <a:t>15%</a:t>
            </a:fld>
            <a:endParaRPr lang="en-GB" sz="1400" dirty="0">
              <a:solidFill>
                <a:schemeClr val="bg1"/>
              </a:solidFill>
            </a:endParaRPr>
          </a:p>
        </p:txBody>
      </p:sp>
      <p:sp>
        <p:nvSpPr>
          <p:cNvPr id="78" name="Textplatzhalter 2">
            <a:extLst>
              <a:ext uri="{FF2B5EF4-FFF2-40B4-BE49-F238E27FC236}">
                <a16:creationId xmlns:a16="http://schemas.microsoft.com/office/drawing/2014/main" id="{4792ACD2-AA50-17F5-F1CE-777F3F7F1C15}"/>
              </a:ext>
            </a:extLst>
          </p:cNvPr>
          <p:cNvSpPr txBox="1">
            <a:spLocks/>
          </p:cNvSpPr>
          <p:nvPr>
            <p:custDataLst>
              <p:tags r:id="rId18"/>
            </p:custDataLst>
          </p:nvPr>
        </p:nvSpPr>
        <p:spPr bwMode="gray">
          <a:xfrm>
            <a:off x="8831263" y="5843588"/>
            <a:ext cx="307975" cy="212725"/>
          </a:xfrm>
          <a:prstGeom prst="rect">
            <a:avLst/>
          </a:prstGeom>
          <a:solidFill>
            <a:srgbClr val="969696"/>
          </a:solidFill>
          <a:ln>
            <a:noFill/>
          </a:ln>
          <a:effectLst/>
        </p:spPr>
        <p:txBody>
          <a:bodyPr vert="horz" wrap="none" lIns="25400" tIns="0" rIns="2540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70000" indent="-27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+mj-lt"/>
              <a:buAutoNum type="arabicPeriod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Font typeface="+mj-lt"/>
              <a:buAutoNum type="alphaLcPeriod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85000"/>
              </a:lnSpc>
              <a:spcBef>
                <a:spcPts val="120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b="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D4CE463E-087D-4C3C-BCA6-2803FDE011D4}" type="datetime'''''''''''''2''''''''''''''''''''''''''''%'''''''''''''''''">
              <a:rPr lang="en-GB" altLang="en-US" sz="1400" smtClean="0">
                <a:solidFill>
                  <a:schemeClr val="bg1"/>
                </a:solidFill>
                <a:effectLst/>
              </a:rPr>
              <a:pPr/>
              <a:t>2%</a:t>
            </a:fld>
            <a:endParaRPr lang="en-GB" sz="1400" dirty="0">
              <a:solidFill>
                <a:schemeClr val="bg1"/>
              </a:solidFill>
            </a:endParaRPr>
          </a:p>
        </p:txBody>
      </p:sp>
      <p:sp>
        <p:nvSpPr>
          <p:cNvPr id="37" name="Textplatzhalter 2">
            <a:extLst>
              <a:ext uri="{FF2B5EF4-FFF2-40B4-BE49-F238E27FC236}">
                <a16:creationId xmlns:a16="http://schemas.microsoft.com/office/drawing/2014/main" id="{AFF9046A-007D-C2C8-BD6D-F7C697930989}"/>
              </a:ext>
            </a:extLst>
          </p:cNvPr>
          <p:cNvSpPr txBox="1">
            <a:spLocks/>
          </p:cNvSpPr>
          <p:nvPr>
            <p:custDataLst>
              <p:tags r:id="rId19"/>
            </p:custDataLst>
          </p:nvPr>
        </p:nvSpPr>
        <p:spPr bwMode="auto">
          <a:xfrm>
            <a:off x="9420225" y="4662488"/>
            <a:ext cx="95567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70000" indent="-27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+mj-lt"/>
              <a:buAutoNum type="arabicPeriod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Font typeface="+mj-lt"/>
              <a:buAutoNum type="alphaLcPeriod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85000"/>
              </a:lnSpc>
              <a:spcBef>
                <a:spcPts val="120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b="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9985FBA3-BD98-46E6-AC0D-EA3E3E7CFCF6}" type="datetime'''''''''P''''''''''er''''''tu''rb''a''t''''''i''''v''e'">
              <a:rPr lang="en-GB" altLang="en-US" sz="1400" smtClean="0"/>
              <a:pPr>
                <a:spcBef>
                  <a:spcPct val="0"/>
                </a:spcBef>
                <a:spcAft>
                  <a:spcPct val="0"/>
                </a:spcAft>
              </a:pPr>
              <a:t>Perturbative</a:t>
            </a:fld>
            <a:endParaRPr lang="en-GB" sz="1400" dirty="0"/>
          </a:p>
        </p:txBody>
      </p:sp>
      <p:sp>
        <p:nvSpPr>
          <p:cNvPr id="132" name="Textplatzhalter 2">
            <a:extLst>
              <a:ext uri="{FF2B5EF4-FFF2-40B4-BE49-F238E27FC236}">
                <a16:creationId xmlns:a16="http://schemas.microsoft.com/office/drawing/2014/main" id="{C8BC8563-A92F-1160-03E6-3A2F6CFD4CC0}"/>
              </a:ext>
            </a:extLst>
          </p:cNvPr>
          <p:cNvSpPr txBox="1">
            <a:spLocks/>
          </p:cNvSpPr>
          <p:nvPr>
            <p:custDataLst>
              <p:tags r:id="rId20"/>
            </p:custDataLst>
          </p:nvPr>
        </p:nvSpPr>
        <p:spPr bwMode="auto">
          <a:xfrm>
            <a:off x="7962900" y="3884613"/>
            <a:ext cx="587375" cy="301625"/>
          </a:xfrm>
          <a:prstGeom prst="ellipse">
            <a:avLst/>
          </a:prstGeom>
          <a:solidFill>
            <a:schemeClr val="bg1"/>
          </a:solidFill>
          <a:ln w="9525" cmpd="sng">
            <a:solidFill>
              <a:schemeClr val="tx1"/>
            </a:solidFill>
          </a:ln>
          <a:effectLst/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70000" indent="-27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+mj-lt"/>
              <a:buAutoNum type="arabicPeriod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Font typeface="+mj-lt"/>
              <a:buAutoNum type="alphaLcPeriod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85000"/>
              </a:lnSpc>
              <a:spcBef>
                <a:spcPts val="120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b="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71CC8E02-A23E-43C8-9334-A71AD2EB50F2}" type="datetime'''''''''''''-''''''''''''''''''''''3''''''''''''7%'''''''''''">
              <a:rPr lang="en-GB" altLang="en-US" sz="1400" b="1" smtClean="0">
                <a:effectLst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-37%</a:t>
            </a:fld>
            <a:endParaRPr lang="en-GB" sz="1400" b="1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38" name="Text Placeholder 1">
                <a:extLst>
                  <a:ext uri="{FF2B5EF4-FFF2-40B4-BE49-F238E27FC236}">
                    <a16:creationId xmlns:a16="http://schemas.microsoft.com/office/drawing/2014/main" id="{4ADC0F97-E6C1-C86C-175F-62B5F2E01D63}"/>
                  </a:ext>
                </a:extLst>
              </p:cNvPr>
              <p:cNvSpPr txBox="1">
                <a:spLocks/>
              </p:cNvSpPr>
              <p:nvPr/>
            </p:nvSpPr>
            <p:spPr bwMode="gray">
              <a:xfrm>
                <a:off x="6209943" y="1393483"/>
                <a:ext cx="5603926" cy="1798979"/>
              </a:xfrm>
              <a:prstGeom prst="rect">
                <a:avLst/>
              </a:prstGeom>
            </p:spPr>
            <p:txBody>
              <a:bodyPr vert="horz" lIns="0" tIns="0" rIns="0" bIns="0" rtlCol="0">
                <a:noAutofit/>
              </a:bodyPr>
              <a:lstStyle>
                <a:lvl1pPr marL="0" indent="0" algn="l" defTabSz="914400" rtl="0" eaLnBrk="1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300"/>
                  </a:spcAft>
                  <a:buFont typeface="Arial" panose="020B0604020202020204" pitchFamily="34" charset="0"/>
                  <a:buNone/>
                  <a:defRPr sz="16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270000" indent="-270000" algn="l" defTabSz="914400" rtl="0" eaLnBrk="1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300"/>
                  </a:spcAft>
                  <a:buClr>
                    <a:schemeClr val="accent1"/>
                  </a:buClr>
                  <a:buFont typeface="Wingdings" panose="05000000000000000000" pitchFamily="2" charset="2"/>
                  <a:buChar char="§"/>
                  <a:defRPr sz="16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270000" indent="-270000" algn="l" defTabSz="914400" rtl="0" eaLnBrk="1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300"/>
                  </a:spcAft>
                  <a:buClr>
                    <a:schemeClr val="accent1"/>
                  </a:buClr>
                  <a:buFont typeface="+mj-lt"/>
                  <a:buAutoNum type="arabicPeriod"/>
                  <a:defRPr sz="16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540000" indent="-27000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Clr>
                    <a:schemeClr val="accent1"/>
                  </a:buClr>
                  <a:buFont typeface="Symbol" panose="05050102010706020507" pitchFamily="18" charset="2"/>
                  <a:buChar char="-"/>
                  <a:defRPr sz="16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540000" indent="-27000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Clr>
                    <a:schemeClr val="accent1"/>
                  </a:buClr>
                  <a:buFont typeface="+mj-lt"/>
                  <a:buAutoNum type="alphaLcPeriod"/>
                  <a:defRPr sz="16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0" indent="0" algn="l" defTabSz="914400" rtl="0" eaLnBrk="1" latinLnBrk="0" hangingPunct="1">
                  <a:lnSpc>
                    <a:spcPct val="85000"/>
                  </a:lnSpc>
                  <a:spcBef>
                    <a:spcPts val="1200"/>
                  </a:spcBef>
                  <a:spcAft>
                    <a:spcPts val="600"/>
                  </a:spcAft>
                  <a:buFont typeface="Arial" panose="020B0604020202020204" pitchFamily="34" charset="0"/>
                  <a:buNone/>
                  <a:defRPr sz="2000" b="1" kern="1200">
                    <a:solidFill>
                      <a:schemeClr val="accent1"/>
                    </a:solidFill>
                    <a:latin typeface="+mn-lt"/>
                    <a:ea typeface="+mn-ea"/>
                    <a:cs typeface="+mn-cs"/>
                  </a:defRPr>
                </a:lvl6pPr>
                <a:lvl7pPr marL="0" indent="0" algn="l" defTabSz="914400" rtl="0" eaLnBrk="1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300"/>
                  </a:spcAft>
                  <a:buFont typeface="Arial" panose="020B0604020202020204" pitchFamily="34" charset="0"/>
                  <a:buNone/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0" indent="0" algn="l" defTabSz="914400" rtl="0" eaLnBrk="1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300"/>
                  </a:spcAft>
                  <a:buFont typeface="Arial" panose="020B0604020202020204" pitchFamily="34" charset="0"/>
                  <a:buNone/>
                  <a:defRPr sz="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0" indent="0" algn="l" defTabSz="914400" rtl="0" eaLnBrk="1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300"/>
                  </a:spcAft>
                  <a:buFont typeface="Arial" panose="020B0604020202020204" pitchFamily="34" charset="0"/>
                  <a:buNone/>
                  <a:defRPr sz="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r>
                  <a:rPr lang="en-GB" sz="2000" b="1" dirty="0">
                    <a:solidFill>
                      <a:schemeClr val="accent1"/>
                    </a:solidFill>
                  </a:rPr>
                  <a:t>Latest theoretical prediction for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sz="2000" b="1" i="1" smtClean="0">
                            <a:solidFill>
                              <a:srgbClr val="009682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sz="2000" b="1" smtClean="0">
                            <a:solidFill>
                              <a:srgbClr val="009682"/>
                            </a:solidFill>
                            <a:latin typeface="Cambria Math" panose="02040503050406030204" pitchFamily="18" charset="0"/>
                          </a:rPr>
                          <m:t>𝐚</m:t>
                        </m:r>
                      </m:e>
                      <m:sub>
                        <m:r>
                          <a:rPr lang="en-US" sz="2000" b="1" smtClean="0">
                            <a:solidFill>
                              <a:srgbClr val="009682"/>
                            </a:solidFill>
                            <a:latin typeface="Cambria Math" panose="02040503050406030204" pitchFamily="18" charset="0"/>
                          </a:rPr>
                          <m:t>𝐟𝐬</m:t>
                        </m:r>
                      </m:sub>
                    </m:sSub>
                    <m:r>
                      <a:rPr lang="en-US" sz="2000" b="1">
                        <a:solidFill>
                          <a:srgbClr val="009682"/>
                        </a:solidFill>
                        <a:latin typeface="Cambria Math" panose="02040503050406030204" pitchFamily="18" charset="0"/>
                      </a:rPr>
                      <m:t>:</m:t>
                    </m:r>
                  </m:oMath>
                </a14:m>
                <a:endParaRPr lang="en-GB" sz="2000" b="1" dirty="0">
                  <a:solidFill>
                    <a:srgbClr val="009682"/>
                  </a:solidFill>
                </a:endParaRPr>
              </a:p>
              <a:p>
                <a:endParaRPr lang="en-GB" sz="2000" b="1" dirty="0">
                  <a:solidFill>
                    <a:srgbClr val="009682"/>
                  </a:solidFill>
                </a:endParaRPr>
              </a:p>
              <a:p>
                <a:endParaRPr lang="en-GB" sz="2000" b="1" dirty="0">
                  <a:solidFill>
                    <a:srgbClr val="009682"/>
                  </a:solidFill>
                </a:endParaRPr>
              </a:p>
              <a:p>
                <a:endParaRPr lang="en-GB" sz="2000" b="1" dirty="0">
                  <a:solidFill>
                    <a:srgbClr val="009682"/>
                  </a:solidFill>
                </a:endParaRPr>
              </a:p>
              <a:p>
                <a:r>
                  <a:rPr lang="en-GB" sz="2000" b="1" dirty="0">
                    <a:solidFill>
                      <a:srgbClr val="009682"/>
                    </a:solidFill>
                  </a:rPr>
                  <a:t>Squared uncertainty is reduced significantly:</a:t>
                </a:r>
              </a:p>
              <a:p>
                <a:endParaRPr lang="en-GB" b="1" dirty="0"/>
              </a:p>
            </p:txBody>
          </p:sp>
        </mc:Choice>
        <mc:Fallback xmlns="">
          <p:sp>
            <p:nvSpPr>
              <p:cNvPr id="138" name="Text Placeholder 1">
                <a:extLst>
                  <a:ext uri="{FF2B5EF4-FFF2-40B4-BE49-F238E27FC236}">
                    <a16:creationId xmlns:a16="http://schemas.microsoft.com/office/drawing/2014/main" id="{4ADC0F97-E6C1-C86C-175F-62B5F2E01D63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gray">
              <a:xfrm>
                <a:off x="6209943" y="1393483"/>
                <a:ext cx="5603926" cy="1798979"/>
              </a:xfrm>
              <a:prstGeom prst="rect">
                <a:avLst/>
              </a:prstGeom>
              <a:blipFill>
                <a:blip r:embed="rId34"/>
                <a:stretch>
                  <a:fillRect l="-2941" t="-4196" b="-9790"/>
                </a:stretch>
              </a:blipFill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49" name="TextBox 148">
            <a:extLst>
              <a:ext uri="{FF2B5EF4-FFF2-40B4-BE49-F238E27FC236}">
                <a16:creationId xmlns:a16="http://schemas.microsoft.com/office/drawing/2014/main" id="{0A145AD5-4813-8475-B3D7-FA6C2166C2B2}"/>
              </a:ext>
            </a:extLst>
          </p:cNvPr>
          <p:cNvSpPr txBox="1"/>
          <p:nvPr/>
        </p:nvSpPr>
        <p:spPr bwMode="gray">
          <a:xfrm>
            <a:off x="10469217" y="2279374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180000" indent="-180000" algn="l" defTabSz="914347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SzPct val="90000"/>
              <a:buFont typeface="Wingdings" panose="05000000000000000000" pitchFamily="2" charset="2"/>
              <a:buChar char="§"/>
            </a:pPr>
            <a:endParaRPr lang="en-GB" sz="1400" dirty="0" err="1"/>
          </a:p>
        </p:txBody>
      </p:sp>
    </p:spTree>
    <p:extLst>
      <p:ext uri="{BB962C8B-B14F-4D97-AF65-F5344CB8AC3E}">
        <p14:creationId xmlns:p14="http://schemas.microsoft.com/office/powerpoint/2010/main" val="3644597887"/>
      </p:ext>
    </p:extLst>
  </p:cSld>
  <p:clrMapOvr>
    <a:masterClrMapping/>
  </p:clrMapOvr>
  <p:transition>
    <p:fade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A82FD89B-B1B1-57CB-409F-9F5E9CBD336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75187157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7772400" imgH="10058400" progId="TCLayout.ActiveDocument.1">
                  <p:embed/>
                </p:oleObj>
              </mc:Choice>
              <mc:Fallback>
                <p:oleObj name="think-cell Slide" r:id="rId6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mc:AlternateContent xmlns:mc="http://schemas.openxmlformats.org/markup-compatibility/2006" xmlns:a14="http://schemas.microsoft.com/office/drawing/2010/main">
        <mc:Choice Requires="a14">
          <p:sp>
            <p:nvSpPr>
              <p:cNvPr id="36" name="Text Placeholder 1">
                <a:extLst>
                  <a:ext uri="{FF2B5EF4-FFF2-40B4-BE49-F238E27FC236}">
                    <a16:creationId xmlns:a16="http://schemas.microsoft.com/office/drawing/2014/main" id="{499797A9-ED91-1428-6780-8A3A9192B6F8}"/>
                  </a:ext>
                </a:extLst>
              </p:cNvPr>
              <p:cNvSpPr>
                <a:spLocks noGrp="1"/>
              </p:cNvSpPr>
              <p:nvPr>
                <p:ph type="body" sz="quarter" idx="13"/>
              </p:nvPr>
            </p:nvSpPr>
            <p:spPr>
              <a:xfrm>
                <a:off x="371475" y="1592263"/>
                <a:ext cx="5392579" cy="4681536"/>
              </a:xfrm>
            </p:spPr>
            <p:txBody>
              <a:bodyPr/>
              <a:lstStyle/>
              <a:p>
                <a:r>
                  <a:rPr lang="en-GB" sz="2000" b="1" dirty="0">
                    <a:solidFill>
                      <a:schemeClr val="accent1"/>
                    </a:solidFill>
                  </a:rPr>
                  <a:t>Calculate the constants a and b in the parametrisation of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sz="2000" b="1" i="1" smtClean="0">
                            <a:solidFill>
                              <a:schemeClr val="accent1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sz="2000" b="1" i="1" smtClean="0">
                            <a:solidFill>
                              <a:schemeClr val="accent1"/>
                            </a:solidFill>
                            <a:latin typeface="Cambria Math" panose="02040503050406030204" pitchFamily="18" charset="0"/>
                          </a:rPr>
                          <m:t>𝒂</m:t>
                        </m:r>
                      </m:e>
                      <m:sub>
                        <m:r>
                          <m:rPr>
                            <m:nor/>
                          </m:rPr>
                          <a:rPr lang="en-US" sz="2000" b="1" i="0" smtClean="0">
                            <a:solidFill>
                              <a:schemeClr val="accent1"/>
                            </a:solidFill>
                            <a:latin typeface="Cambria Math" panose="02040503050406030204" pitchFamily="18" charset="0"/>
                          </a:rPr>
                          <m:t>fs</m:t>
                        </m:r>
                      </m:sub>
                    </m:sSub>
                  </m:oMath>
                </a14:m>
                <a:r>
                  <a:rPr lang="en-GB" sz="2000" b="1" dirty="0">
                    <a:solidFill>
                      <a:schemeClr val="accent1"/>
                    </a:solidFill>
                  </a:rPr>
                  <a:t>:</a:t>
                </a:r>
                <a:endParaRPr lang="en-GB" b="1" dirty="0">
                  <a:solidFill>
                    <a:schemeClr val="accent1"/>
                  </a:solidFill>
                </a:endParaRPr>
              </a:p>
              <a:p>
                <a:endParaRPr lang="en-GB" b="1" dirty="0">
                  <a:solidFill>
                    <a:schemeClr val="accent1"/>
                  </a:solidFill>
                </a:endParaRPr>
              </a:p>
              <a:p>
                <a:endParaRPr lang="en-GB" b="1" dirty="0">
                  <a:solidFill>
                    <a:schemeClr val="tx1"/>
                  </a:solidFill>
                </a:endParaRPr>
              </a:p>
              <a:p>
                <a:pPr lvl="0"/>
                <a:r>
                  <a:rPr lang="en-US" sz="2000" b="1" dirty="0">
                    <a:solidFill>
                      <a:schemeClr val="accent1"/>
                    </a:solidFill>
                  </a:rPr>
                  <a:t>Using an experimental value for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sz="2000" b="1" i="1">
                            <a:solidFill>
                              <a:schemeClr val="accent1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sz="2000" b="1" i="1">
                            <a:solidFill>
                              <a:schemeClr val="accent1"/>
                            </a:solidFill>
                            <a:latin typeface="Cambria Math" panose="02040503050406030204" pitchFamily="18" charset="0"/>
                          </a:rPr>
                          <m:t>𝒂</m:t>
                        </m:r>
                      </m:e>
                      <m:sub>
                        <m:r>
                          <m:rPr>
                            <m:nor/>
                          </m:rPr>
                          <a:rPr lang="en-US" sz="2000" b="1">
                            <a:solidFill>
                              <a:schemeClr val="accent1"/>
                            </a:solidFill>
                            <a:latin typeface="Cambria Math" panose="02040503050406030204" pitchFamily="18" charset="0"/>
                          </a:rPr>
                          <m:t>fs</m:t>
                        </m:r>
                      </m:sub>
                    </m:sSub>
                  </m:oMath>
                </a14:m>
                <a:r>
                  <a:rPr lang="en-GB" sz="2000" b="1" dirty="0">
                    <a:solidFill>
                      <a:srgbClr val="009682"/>
                    </a:solidFill>
                  </a:rPr>
                  <a:t>, we obtain curves in the </a:t>
                </a:r>
                <a14:m>
                  <m:oMath xmlns:m="http://schemas.openxmlformats.org/officeDocument/2006/math">
                    <m:acc>
                      <m:accPr>
                        <m:chr m:val="̅"/>
                        <m:ctrlPr>
                          <a:rPr lang="en-US" sz="2000" b="1" i="1" smtClean="0">
                            <a:solidFill>
                              <a:srgbClr val="009682"/>
                            </a:solidFill>
                            <a:latin typeface="Cambria Math" panose="02040503050406030204" pitchFamily="18" charset="0"/>
                          </a:rPr>
                        </m:ctrlPr>
                      </m:accPr>
                      <m:e>
                        <m:r>
                          <a:rPr lang="en-US" sz="2000" b="1" i="1" smtClean="0">
                            <a:solidFill>
                              <a:srgbClr val="009682"/>
                            </a:solidFill>
                            <a:latin typeface="Cambria Math" panose="02040503050406030204" pitchFamily="18" charset="0"/>
                          </a:rPr>
                          <m:t>𝝆</m:t>
                        </m:r>
                      </m:e>
                    </m:acc>
                    <m:r>
                      <a:rPr lang="en-US" sz="2000" b="1" i="1" dirty="0" smtClean="0">
                        <a:solidFill>
                          <a:schemeClr val="accent1"/>
                        </a:solidFill>
                        <a:latin typeface="Cambria Math" panose="02040503050406030204" pitchFamily="18" charset="0"/>
                      </a:rPr>
                      <m:t>−</m:t>
                    </m:r>
                    <m:acc>
                      <m:accPr>
                        <m:chr m:val="̅"/>
                        <m:ctrlPr>
                          <a:rPr lang="en-US" sz="2000" b="1" i="1" dirty="0" smtClean="0">
                            <a:solidFill>
                              <a:schemeClr val="accent1"/>
                            </a:solidFill>
                            <a:latin typeface="Cambria Math" panose="02040503050406030204" pitchFamily="18" charset="0"/>
                          </a:rPr>
                        </m:ctrlPr>
                      </m:accPr>
                      <m:e>
                        <m:r>
                          <a:rPr lang="en-US" sz="2000" b="1" i="1" dirty="0" smtClean="0">
                            <a:solidFill>
                              <a:schemeClr val="accent1"/>
                            </a:solidFill>
                            <a:latin typeface="Cambria Math" panose="02040503050406030204" pitchFamily="18" charset="0"/>
                          </a:rPr>
                          <m:t>𝜼</m:t>
                        </m:r>
                      </m:e>
                    </m:acc>
                    <m:r>
                      <a:rPr lang="en-US" sz="2000" b="1" i="1" dirty="0" smtClean="0">
                        <a:solidFill>
                          <a:schemeClr val="accent1"/>
                        </a:solidFill>
                        <a:latin typeface="Cambria Math" panose="02040503050406030204" pitchFamily="18" charset="0"/>
                      </a:rPr>
                      <m:t> ̅</m:t>
                    </m:r>
                  </m:oMath>
                </a14:m>
                <a:r>
                  <a:rPr lang="en-GB" sz="2000" b="1" dirty="0">
                    <a:solidFill>
                      <a:srgbClr val="009682"/>
                    </a:solidFill>
                  </a:rPr>
                  <a:t> plane:</a:t>
                </a:r>
              </a:p>
              <a:p>
                <a:pPr lvl="0"/>
                <a:endParaRPr lang="en-GB" sz="2000" b="1" dirty="0">
                  <a:solidFill>
                    <a:srgbClr val="009682"/>
                  </a:solidFill>
                </a:endParaRPr>
              </a:p>
              <a:p>
                <a:pPr lvl="0"/>
                <a:endParaRPr lang="en-GB" sz="2000" b="1" dirty="0">
                  <a:solidFill>
                    <a:srgbClr val="009682"/>
                  </a:solidFill>
                </a:endParaRPr>
              </a:p>
              <a:p>
                <a:r>
                  <a:rPr lang="en-US" sz="1800" dirty="0">
                    <a:solidFill>
                      <a:srgbClr val="002D4C"/>
                    </a:solidFill>
                    <a:latin typeface="Arial"/>
                  </a:rPr>
                  <a:t>On the right: current global average of the CKM triangle and constraints from NNLO predictions for</a:t>
                </a:r>
              </a:p>
            </p:txBody>
          </p:sp>
        </mc:Choice>
        <mc:Fallback xmlns="">
          <p:sp>
            <p:nvSpPr>
              <p:cNvPr id="36" name="Text Placeholder 1">
                <a:extLst>
                  <a:ext uri="{FF2B5EF4-FFF2-40B4-BE49-F238E27FC236}">
                    <a16:creationId xmlns:a16="http://schemas.microsoft.com/office/drawing/2014/main" id="{499797A9-ED91-1428-6780-8A3A9192B6F8}"/>
                  </a:ext>
                </a:extLst>
              </p:cNvPr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type="body" sz="quarter" idx="13"/>
              </p:nvPr>
            </p:nvSpPr>
            <p:spPr>
              <a:xfrm>
                <a:off x="371475" y="1592263"/>
                <a:ext cx="5392579" cy="4681536"/>
              </a:xfrm>
              <a:blipFill>
                <a:blip r:embed="rId8"/>
                <a:stretch>
                  <a:fillRect l="-3052" t="-1626"/>
                </a:stretch>
              </a:blipFill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5" name="Title 4">
            <a:extLst>
              <a:ext uri="{FF2B5EF4-FFF2-40B4-BE49-F238E27FC236}">
                <a16:creationId xmlns:a16="http://schemas.microsoft.com/office/drawing/2014/main" id="{4E7A9212-5399-F78E-FF9A-FB3E7D133BB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/>
              <a:t>A future measurement of       provides a strong constraint on the apex of the CKM triangle.</a:t>
            </a:r>
          </a:p>
        </p:txBody>
      </p: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15AA44DC-3E10-473D-4829-11053BF71150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r>
              <a:rPr lang="de-DE" dirty="0"/>
              <a:t>08/07/2025</a:t>
            </a:r>
            <a:endParaRPr lang="en-US" dirty="0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112E4E76-AEF0-0172-98A5-128BAD2B3286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US" dirty="0"/>
              <a:t>Pascal Reeck – B meson mixing at NNLO</a:t>
            </a:r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89E5D677-943C-1FF1-4421-EFC5D548EFAD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776FC98F-84AD-404B-BCCB-49E092AA6DE0}" type="slidenum">
              <a:rPr lang="en-US" smtClean="0"/>
              <a:pPr/>
              <a:t>13</a:t>
            </a:fld>
            <a:endParaRPr lang="en-US" dirty="0"/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E9CC0AA5-7EFB-44CA-6106-D5B8892AC881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5486399" y="1347258"/>
            <a:ext cx="6334125" cy="4926541"/>
          </a:xfrm>
          <a:prstGeom prst="rect">
            <a:avLst/>
          </a:prstGeom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31" name="TextBox 30">
                <a:extLst>
                  <a:ext uri="{FF2B5EF4-FFF2-40B4-BE49-F238E27FC236}">
                    <a16:creationId xmlns:a16="http://schemas.microsoft.com/office/drawing/2014/main" id="{A5869B7B-BB0D-0F2F-423B-2E0E81BADAA9}"/>
                  </a:ext>
                </a:extLst>
              </p:cNvPr>
              <p:cNvSpPr txBox="1"/>
              <p:nvPr/>
            </p:nvSpPr>
            <p:spPr bwMode="gray">
              <a:xfrm>
                <a:off x="5064259" y="199799"/>
                <a:ext cx="1080000" cy="646331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sz="3500" b="1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3500" b="1" i="0" smtClean="0">
                              <a:latin typeface="Cambria Math" panose="02040503050406030204" pitchFamily="18" charset="0"/>
                            </a:rPr>
                            <m:t>𝐚</m:t>
                          </m:r>
                        </m:e>
                        <m:sub>
                          <m:r>
                            <a:rPr lang="en-US" sz="3500" b="1" i="0" smtClean="0">
                              <a:latin typeface="Cambria Math" panose="02040503050406030204" pitchFamily="18" charset="0"/>
                            </a:rPr>
                            <m:t>𝐟𝐬</m:t>
                          </m:r>
                        </m:sub>
                      </m:sSub>
                    </m:oMath>
                  </m:oMathPara>
                </a14:m>
                <a:endParaRPr lang="en-GB" sz="3500" b="1" dirty="0"/>
              </a:p>
            </p:txBody>
          </p:sp>
        </mc:Choice>
        <mc:Fallback xmlns="">
          <p:sp>
            <p:nvSpPr>
              <p:cNvPr id="31" name="TextBox 30">
                <a:extLst>
                  <a:ext uri="{FF2B5EF4-FFF2-40B4-BE49-F238E27FC236}">
                    <a16:creationId xmlns:a16="http://schemas.microsoft.com/office/drawing/2014/main" id="{A5869B7B-BB0D-0F2F-423B-2E0E81BADAA9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gray">
              <a:xfrm>
                <a:off x="5064259" y="199799"/>
                <a:ext cx="1080000" cy="646331"/>
              </a:xfrm>
              <a:prstGeom prst="rect">
                <a:avLst/>
              </a:prstGeom>
              <a:blipFill>
                <a:blip r:embed="rId10"/>
                <a:stretch>
                  <a:fillRect b="-5769"/>
                </a:stretch>
              </a:blipFill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38" name="Picture 37" descr="\documentclass{article}&#10;\usepackage{amsmath}&#10;\usepackage{xcolor}&#10;\pagestyle{empty}&#10;\begin{document}&#10;&#10;\definecolor{KITblue}{RGB}{0, 45, 76}&#10;\definecolor{KITlightblue}{RGB}{35, 161, 224}&#10;\definecolor{KITpurple}{RGB}{163, 16, 124}&#10;&#10;\begin{equation*}&#10;\color{KITblue}&#10;a_{\rm fs}^d = \left[a\, \text{Im} \frac{\lambda_u^d}{\lambda_t^d} + b\, \text{Im} \frac{(\lambda_u^d)^2}{(\lambda_t^d)^2} \right]\times 10^{-4}&#10;\end{equation*}&#10;&#10;&#10;\end{document}" title="IguanaTex Picture Display">
            <a:extLst>
              <a:ext uri="{FF2B5EF4-FFF2-40B4-BE49-F238E27FC236}">
                <a16:creationId xmlns:a16="http://schemas.microsoft.com/office/drawing/2014/main" id="{4C981FAE-2696-B2C4-1C4B-34A72BF951CA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11"/>
          <a:stretch>
            <a:fillRect/>
          </a:stretch>
        </p:blipFill>
        <p:spPr>
          <a:xfrm>
            <a:off x="963993" y="2284349"/>
            <a:ext cx="3929888" cy="631952"/>
          </a:xfrm>
          <a:prstGeom prst="rect">
            <a:avLst/>
          </a:prstGeom>
        </p:spPr>
      </p:pic>
      <p:pic>
        <p:nvPicPr>
          <p:cNvPr id="40" name="Picture 39" descr="\documentclass{article}&#10;\usepackage{amsmath}&#10;\usepackage{xcolor}&#10;\pagestyle{empty}&#10;\begin{document}&#10;&#10;\definecolor{KITblue}{RGB}{0, 45, 76}&#10;\definecolor{KITlightblue}{RGB}{35, 161, 224}&#10;\definecolor{KITpurple}{RGB}{163, 16, 124}&#10;&#10;\begin{equation*}&#10;\color{KITblue}&#10;\frac{\lambda_u^d}{\lambda_t^d} = \frac{1-\bar\rho - i \bar\eta}{(1-\bar\rho)^2+\bar\eta^2} - 1&#10;\end{equation*}&#10;&#10;&#10;\end{document}" title="IguanaTex Picture Display">
            <a:extLst>
              <a:ext uri="{FF2B5EF4-FFF2-40B4-BE49-F238E27FC236}">
                <a16:creationId xmlns:a16="http://schemas.microsoft.com/office/drawing/2014/main" id="{042C57B4-9635-4604-AA5B-1F402531A626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12"/>
          <a:stretch>
            <a:fillRect/>
          </a:stretch>
        </p:blipFill>
        <p:spPr>
          <a:xfrm>
            <a:off x="1650809" y="3678618"/>
            <a:ext cx="2556256" cy="631952"/>
          </a:xfrm>
          <a:prstGeom prst="rect">
            <a:avLst/>
          </a:prstGeom>
        </p:spPr>
      </p:pic>
      <p:pic>
        <p:nvPicPr>
          <p:cNvPr id="46" name="Picture 45" descr="\documentclass{article}&#10;\usepackage{amsmath}&#10;\usepackage{xcolor}&#10;\pagestyle{empty}&#10;\begin{document}&#10;&#10;\definecolor{KITblue}{RGB}{0, 45, 76}&#10;\definecolor{KITlightblue}{RGB}{35, 161, 224}&#10;\definecolor{KITpurple}{RGB}{163, 16, 124}&#10;&#10;\begin{align*}&#10;\color{KITblue}&#10;( a_{\rm fs}^d)^\text{exp} &amp; \color{KITblue} = -5 \times 10^{-4} \quad \text{(left bands)}\\&#10;\color{KITblue}( a_{\rm fs}^d)^\text{exp} &amp; \color{KITblue} = -1 \times 10^{-3} \quad \text{(right bands)}&#10;\end{align*}&#10;&#10;&#10;\end{document}" title="IguanaTex Picture Display">
            <a:extLst>
              <a:ext uri="{FF2B5EF4-FFF2-40B4-BE49-F238E27FC236}">
                <a16:creationId xmlns:a16="http://schemas.microsoft.com/office/drawing/2014/main" id="{E3F75CD8-754E-B9F4-B7C1-88A030C6272B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13"/>
          <a:stretch>
            <a:fillRect/>
          </a:stretch>
        </p:blipFill>
        <p:spPr>
          <a:xfrm>
            <a:off x="1345602" y="5265738"/>
            <a:ext cx="3958336" cy="711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6169337"/>
      </p:ext>
    </p:extLst>
  </p:cSld>
  <p:clrMapOvr>
    <a:masterClrMapping/>
  </p:clrMapOvr>
  <p:transition>
    <p:fade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think-cell data - do not delete" hidden="1">
            <a:extLst>
              <a:ext uri="{FF2B5EF4-FFF2-40B4-BE49-F238E27FC236}">
                <a16:creationId xmlns:a16="http://schemas.microsoft.com/office/drawing/2014/main" id="{C1686AE8-792D-FFC7-F3C8-42A1112172B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91172287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735DA21A-D02B-8824-D313-FD5E36879A1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/>
              <a:t>Thank you for your attention!</a:t>
            </a:r>
          </a:p>
        </p:txBody>
      </p:sp>
      <p:pic>
        <p:nvPicPr>
          <p:cNvPr id="9" name="Picture Placeholder 8" descr="A blackboard with math equations&#10;&#10;AI-generated content may be incorrect.">
            <a:extLst>
              <a:ext uri="{FF2B5EF4-FFF2-40B4-BE49-F238E27FC236}">
                <a16:creationId xmlns:a16="http://schemas.microsoft.com/office/drawing/2014/main" id="{D3F8B48C-44D6-A520-B378-038633D01A5F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5"/>
          <a:srcRect t="3480" b="3480"/>
          <a:stretch>
            <a:fillRect/>
          </a:stretch>
        </p:blipFill>
        <p:spPr/>
      </p:pic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B5B2D17-6C68-89D0-DF41-40BB50771334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r>
              <a:rPr lang="de-DE" dirty="0"/>
              <a:t>08/07/2025</a:t>
            </a:r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4FB9FBB-BE45-C243-EFE7-6A3A6702523E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US" dirty="0"/>
              <a:t>Pascal Reeck – B meson mixing at NNLO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8EE99CB-65B5-0669-28CD-C18EDC8E1FF1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776FC98F-84AD-404B-BCCB-49E092AA6DE0}" type="slidenum">
              <a:rPr lang="en-US" smtClean="0"/>
              <a:pPr/>
              <a:t>1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37460074"/>
      </p:ext>
    </p:extLst>
  </p:cSld>
  <p:clrMapOvr>
    <a:masterClrMapping/>
  </p:clrMapOvr>
  <p:transition>
    <p:fade/>
  </p:transition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>
          <a:extLst>
            <a:ext uri="{FF2B5EF4-FFF2-40B4-BE49-F238E27FC236}">
              <a16:creationId xmlns:a16="http://schemas.microsoft.com/office/drawing/2014/main" id="{F463F406-76C8-F539-13DB-75BCF17229D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2C22142F-07C4-1B90-0F41-53FF0A9A611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C22142F-07C4-1B90-0F41-53FF0A9A611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el 8">
            <a:extLst>
              <a:ext uri="{FF2B5EF4-FFF2-40B4-BE49-F238E27FC236}">
                <a16:creationId xmlns:a16="http://schemas.microsoft.com/office/drawing/2014/main" id="{5159F0BF-389D-E554-D765-C3DD63EBEDE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t"/>
          <a:lstStyle/>
          <a:p>
            <a:r>
              <a:rPr lang="en-GB" noProof="0" dirty="0"/>
              <a:t>What are B mesons?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0" name="Textplatzhalter 9">
                <a:extLst>
                  <a:ext uri="{FF2B5EF4-FFF2-40B4-BE49-F238E27FC236}">
                    <a16:creationId xmlns:a16="http://schemas.microsoft.com/office/drawing/2014/main" id="{AA3A3FED-BF87-2B2A-852D-203431CBCBDD}"/>
                  </a:ext>
                </a:extLst>
              </p:cNvPr>
              <p:cNvSpPr>
                <a:spLocks noGrp="1"/>
              </p:cNvSpPr>
              <p:nvPr>
                <p:ph type="body" sz="quarter" idx="13"/>
              </p:nvPr>
            </p:nvSpPr>
            <p:spPr/>
            <p:txBody>
              <a:bodyPr/>
              <a:lstStyle/>
              <a:p>
                <a:pPr lvl="5"/>
                <a:r>
                  <a:rPr lang="en-US" dirty="0"/>
                  <a:t>B mesons are heavy hadrons. </a:t>
                </a:r>
              </a:p>
              <a:p>
                <a:r>
                  <a:rPr lang="en-US" dirty="0"/>
                  <a:t>The most common variants contain a light quark and a bottom quark:</a:t>
                </a:r>
              </a:p>
              <a:p>
                <a:pPr lvl="1"/>
                <a:r>
                  <a:rPr lang="en-US" dirty="0"/>
                  <a:t>B</a:t>
                </a:r>
                <a:r>
                  <a:rPr lang="en-US" baseline="30000" dirty="0"/>
                  <a:t>+</a:t>
                </a:r>
                <a:r>
                  <a:rPr lang="en-US" dirty="0"/>
                  <a:t>: </a:t>
                </a:r>
                <a14:m>
                  <m:oMath xmlns:m="http://schemas.openxmlformats.org/officeDocument/2006/math">
                    <m:r>
                      <a:rPr lang="en-US" b="0" i="1" dirty="0" smtClean="0">
                        <a:latin typeface="Cambria Math" panose="02040503050406030204" pitchFamily="18" charset="0"/>
                      </a:rPr>
                      <m:t>𝑢</m:t>
                    </m:r>
                    <m:acc>
                      <m:accPr>
                        <m:chr m:val="̅"/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accPr>
                      <m:e>
                        <m:r>
                          <a:rPr lang="en-US" i="1">
                            <a:latin typeface="Cambria Math" panose="02040503050406030204" pitchFamily="18" charset="0"/>
                          </a:rPr>
                          <m:t>𝑏</m:t>
                        </m:r>
                      </m:e>
                    </m:acc>
                    <m:r>
                      <a:rPr lang="en-US" b="0" i="0" smtClean="0">
                        <a:latin typeface="Cambria Math" panose="02040503050406030204" pitchFamily="18" charset="0"/>
                      </a:rPr>
                      <m:t> </m:t>
                    </m:r>
                  </m:oMath>
                </a14:m>
                <a:r>
                  <a:rPr lang="en-US" dirty="0"/>
                  <a:t>and B</a:t>
                </a:r>
                <a:r>
                  <a:rPr lang="en-US" baseline="30000" dirty="0"/>
                  <a:t>0</a:t>
                </a:r>
                <a:r>
                  <a:rPr lang="en-US" dirty="0"/>
                  <a:t>: </a:t>
                </a:r>
                <a14:m>
                  <m:oMath xmlns:m="http://schemas.openxmlformats.org/officeDocument/2006/math">
                    <m:r>
                      <a:rPr lang="en-US" i="1" dirty="0">
                        <a:latin typeface="Cambria Math" panose="02040503050406030204" pitchFamily="18" charset="0"/>
                      </a:rPr>
                      <m:t>𝑑</m:t>
                    </m:r>
                    <m:acc>
                      <m:accPr>
                        <m:chr m:val="̅"/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accPr>
                      <m:e>
                        <m:r>
                          <a:rPr lang="en-US" i="1">
                            <a:latin typeface="Cambria Math" panose="02040503050406030204" pitchFamily="18" charset="0"/>
                          </a:rPr>
                          <m:t>𝑏</m:t>
                        </m:r>
                      </m:e>
                    </m:acc>
                  </m:oMath>
                </a14:m>
                <a:r>
                  <a:rPr lang="en-US" dirty="0"/>
                  <a:t> with mass </a:t>
                </a:r>
                <a14:m>
                  <m:oMath xmlns:m="http://schemas.openxmlformats.org/officeDocument/2006/math">
                    <m:r>
                      <a:rPr lang="en-US" b="0" i="1" smtClean="0">
                        <a:latin typeface="Cambria Math" panose="02040503050406030204" pitchFamily="18" charset="0"/>
                      </a:rPr>
                      <m:t>5.3 </m:t>
                    </m:r>
                    <m:r>
                      <m:rPr>
                        <m:sty m:val="p"/>
                      </m:rPr>
                      <a:rPr lang="en-US" b="0" i="0" smtClean="0">
                        <a:latin typeface="Cambria Math" panose="02040503050406030204" pitchFamily="18" charset="0"/>
                      </a:rPr>
                      <m:t>GeV</m:t>
                    </m:r>
                  </m:oMath>
                </a14:m>
                <a:endParaRPr lang="en-US" dirty="0"/>
              </a:p>
              <a:p>
                <a:pPr lvl="1"/>
                <a:r>
                  <a:rPr lang="en-US" dirty="0"/>
                  <a:t>B</a:t>
                </a:r>
                <a:r>
                  <a:rPr lang="en-US" baseline="30000" dirty="0"/>
                  <a:t>0</a:t>
                </a:r>
                <a:r>
                  <a:rPr lang="en-US" baseline="-25000" dirty="0"/>
                  <a:t>s</a:t>
                </a:r>
                <a:r>
                  <a:rPr lang="en-US" dirty="0"/>
                  <a:t>: </a:t>
                </a:r>
                <a14:m>
                  <m:oMath xmlns:m="http://schemas.openxmlformats.org/officeDocument/2006/math">
                    <m:r>
                      <a:rPr lang="en-US" b="0" i="1" dirty="0" smtClean="0">
                        <a:latin typeface="Cambria Math" panose="02040503050406030204" pitchFamily="18" charset="0"/>
                      </a:rPr>
                      <m:t>𝑠</m:t>
                    </m:r>
                    <m:acc>
                      <m:accPr>
                        <m:chr m:val="̅"/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accPr>
                      <m:e>
                        <m:r>
                          <a:rPr lang="en-US" i="1">
                            <a:latin typeface="Cambria Math" panose="02040503050406030204" pitchFamily="18" charset="0"/>
                          </a:rPr>
                          <m:t>𝑏</m:t>
                        </m:r>
                      </m:e>
                    </m:acc>
                  </m:oMath>
                </a14:m>
                <a:r>
                  <a:rPr lang="en-US" dirty="0"/>
                  <a:t> with mass </a:t>
                </a:r>
                <a14:m>
                  <m:oMath xmlns:m="http://schemas.openxmlformats.org/officeDocument/2006/math">
                    <m:r>
                      <a:rPr lang="en-US" i="1">
                        <a:latin typeface="Cambria Math" panose="02040503050406030204" pitchFamily="18" charset="0"/>
                      </a:rPr>
                      <m:t>5.</m:t>
                    </m:r>
                    <m:r>
                      <a:rPr lang="en-US" b="0" i="1" smtClean="0">
                        <a:latin typeface="Cambria Math" panose="02040503050406030204" pitchFamily="18" charset="0"/>
                      </a:rPr>
                      <m:t>4</m:t>
                    </m:r>
                    <m:r>
                      <a:rPr lang="en-US" i="1">
                        <a:latin typeface="Cambria Math" panose="02040503050406030204" pitchFamily="18" charset="0"/>
                      </a:rPr>
                      <m:t> </m:t>
                    </m:r>
                    <m:r>
                      <m:rPr>
                        <m:sty m:val="p"/>
                      </m:rPr>
                      <a:rPr lang="en-US" b="0" i="0" smtClean="0">
                        <a:latin typeface="Cambria Math" panose="02040503050406030204" pitchFamily="18" charset="0"/>
                      </a:rPr>
                      <m:t>G</m:t>
                    </m:r>
                    <m:r>
                      <m:rPr>
                        <m:sty m:val="p"/>
                      </m:rPr>
                      <a:rPr lang="en-US">
                        <a:latin typeface="Cambria Math" panose="02040503050406030204" pitchFamily="18" charset="0"/>
                      </a:rPr>
                      <m:t>eV</m:t>
                    </m:r>
                  </m:oMath>
                </a14:m>
                <a:endParaRPr lang="en-US" dirty="0"/>
              </a:p>
              <a:p>
                <a:pPr marL="0" lvl="1" indent="0">
                  <a:buNone/>
                </a:pPr>
                <a:endParaRPr lang="en-US" dirty="0"/>
              </a:p>
              <a:p>
                <a:pPr lvl="5"/>
                <a:r>
                  <a:rPr lang="en-US" dirty="0"/>
                  <a:t>They are all around us (in detectors).</a:t>
                </a:r>
              </a:p>
              <a:p>
                <a:pPr lvl="1"/>
                <a:r>
                  <a:rPr lang="en-US" dirty="0"/>
                  <a:t>LHC produces </a:t>
                </a:r>
                <a14:m>
                  <m:oMath xmlns:m="http://schemas.openxmlformats.org/officeDocument/2006/math">
                    <m:r>
                      <a:rPr lang="en-US" b="0" i="1" dirty="0" smtClean="0">
                        <a:latin typeface="Cambria Math" panose="02040503050406030204" pitchFamily="18" charset="0"/>
                      </a:rPr>
                      <m:t>𝑏</m:t>
                    </m:r>
                    <m:acc>
                      <m:accPr>
                        <m:chr m:val="̅"/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accPr>
                      <m:e>
                        <m:r>
                          <a:rPr lang="en-US" i="1">
                            <a:latin typeface="Cambria Math" panose="02040503050406030204" pitchFamily="18" charset="0"/>
                          </a:rPr>
                          <m:t>𝑏</m:t>
                        </m:r>
                      </m:e>
                    </m:acc>
                  </m:oMath>
                </a14:m>
                <a:r>
                  <a:rPr lang="en-US" dirty="0"/>
                  <a:t> pairs, </a:t>
                </a:r>
                <a:r>
                  <a:rPr lang="en-US" dirty="0" err="1"/>
                  <a:t>LHCb</a:t>
                </a:r>
                <a:r>
                  <a:rPr lang="en-US" dirty="0"/>
                  <a:t> focuses on b quarks</a:t>
                </a:r>
              </a:p>
              <a:p>
                <a:pPr lvl="1"/>
                <a:r>
                  <a:rPr lang="en-US" dirty="0"/>
                  <a:t>Belle II produces Y(4S) resonance which decays to B mesons</a:t>
                </a:r>
              </a:p>
            </p:txBody>
          </p:sp>
        </mc:Choice>
        <mc:Fallback xmlns="">
          <p:sp>
            <p:nvSpPr>
              <p:cNvPr id="10" name="Textplatzhalter 9">
                <a:extLst>
                  <a:ext uri="{FF2B5EF4-FFF2-40B4-BE49-F238E27FC236}">
                    <a16:creationId xmlns:a16="http://schemas.microsoft.com/office/drawing/2014/main" id="{AA3A3FED-BF87-2B2A-852D-203431CBCBDD}"/>
                  </a:ext>
                </a:extLst>
              </p:cNvPr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type="body" sz="quarter" idx="13"/>
              </p:nvPr>
            </p:nvSpPr>
            <p:spPr>
              <a:blipFill>
                <a:blip r:embed="rId5"/>
                <a:stretch>
                  <a:fillRect l="-2935" t="-2432" r="-2483"/>
                </a:stretch>
              </a:blipFill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DAD714A7-58F3-BD57-4BCD-B0E6F642D806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 dirty="0"/>
              <a:t>Pascal Reeck – B meson mixing at NNLO</a:t>
            </a:r>
          </a:p>
        </p:txBody>
      </p:sp>
      <p:pic>
        <p:nvPicPr>
          <p:cNvPr id="15" name="Bildplatzhalter 15">
            <a:extLst>
              <a:ext uri="{FF2B5EF4-FFF2-40B4-BE49-F238E27FC236}">
                <a16:creationId xmlns:a16="http://schemas.microsoft.com/office/drawing/2014/main" id="{3E96B3BB-96BA-B681-DCE2-C83745C96600}"/>
              </a:ext>
            </a:extLst>
          </p:cNvPr>
          <p:cNvPicPr>
            <a:picLocks noChangeAspect="1"/>
          </p:cNvPicPr>
          <p:nvPr/>
        </p:nvPicPr>
        <p:blipFill>
          <a:blip r:embed="rId6"/>
          <a:srcRect l="7473" t="19" r="7451" b="-19"/>
          <a:stretch/>
        </p:blipFill>
        <p:spPr bwMode="gray">
          <a:xfrm>
            <a:off x="6205522" y="1304"/>
            <a:ext cx="5986477" cy="6857999"/>
          </a:xfrm>
          <a:prstGeom prst="rect">
            <a:avLst/>
          </a:prstGeom>
        </p:spPr>
      </p:pic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55F112E5-B483-F4FE-A013-105AC10BCA15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776FC98F-84AD-404B-BCCB-49E092AA6DE0}" type="slidenum">
              <a:rPr lang="en-US" smtClean="0"/>
              <a:pPr/>
              <a:t>15</a:t>
            </a:fld>
            <a:endParaRPr lang="en-US" dirty="0"/>
          </a:p>
        </p:txBody>
      </p:sp>
      <p:sp>
        <p:nvSpPr>
          <p:cNvPr id="4" name="SmartArt-Platzhalter 3">
            <a:extLst>
              <a:ext uri="{FF2B5EF4-FFF2-40B4-BE49-F238E27FC236}">
                <a16:creationId xmlns:a16="http://schemas.microsoft.com/office/drawing/2014/main" id="{3106215B-EB91-76CF-D954-4F7FCF74E1F3}"/>
              </a:ext>
            </a:extLst>
          </p:cNvPr>
          <p:cNvSpPr>
            <a:spLocks noGrp="1"/>
          </p:cNvSpPr>
          <p:nvPr>
            <p:ph type="dgm" sz="quarter" idx="21"/>
          </p:nvPr>
        </p:nvSpPr>
        <p:spPr>
          <a:solidFill>
            <a:srgbClr val="000000"/>
          </a:solidFill>
        </p:spPr>
        <p:txBody>
          <a:bodyPr/>
          <a:lstStyle/>
          <a:p>
            <a:endParaRPr lang="en-GB"/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B1ECC4E7-754E-649F-55B3-2D26A8C4C1B9}"/>
              </a:ext>
            </a:extLst>
          </p:cNvPr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r>
              <a:rPr lang="de-DE" noProof="1"/>
              <a:t>08/07/2025</a:t>
            </a:r>
            <a:endParaRPr lang="en-US" noProof="1"/>
          </a:p>
        </p:txBody>
      </p:sp>
      <p:sp>
        <p:nvSpPr>
          <p:cNvPr id="5" name="Textfeld 45">
            <a:extLst>
              <a:ext uri="{FF2B5EF4-FFF2-40B4-BE49-F238E27FC236}">
                <a16:creationId xmlns:a16="http://schemas.microsoft.com/office/drawing/2014/main" id="{8AA433A3-2501-42A4-D3B1-E86DE16F4669}"/>
              </a:ext>
            </a:extLst>
          </p:cNvPr>
          <p:cNvSpPr txBox="1">
            <a:spLocks/>
          </p:cNvSpPr>
          <p:nvPr/>
        </p:nvSpPr>
        <p:spPr bwMode="gray">
          <a:xfrm>
            <a:off x="6205520" y="5951031"/>
            <a:ext cx="5986479" cy="900585"/>
          </a:xfrm>
          <a:prstGeom prst="rect">
            <a:avLst/>
          </a:prstGeom>
          <a:blipFill dpi="0" rotWithShape="1">
            <a:blip r:embed="rId7">
              <a:grayscl/>
            </a:blip>
            <a:srcRect/>
            <a:stretch>
              <a:fillRect/>
            </a:stretch>
          </a:blipFill>
          <a:effectLst/>
        </p:spPr>
        <p:txBody>
          <a:bodyPr wrap="square" lIns="108000" tIns="0" rIns="0" bIns="108000" rtlCol="0" anchor="b">
            <a:noAutofit/>
          </a:bodyPr>
          <a:lstStyle/>
          <a:p>
            <a:pPr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</a:pPr>
            <a:r>
              <a:rPr lang="en-US" sz="700" dirty="0">
                <a:solidFill>
                  <a:schemeClr val="bg1">
                    <a:alpha val="70000"/>
                  </a:schemeClr>
                </a:solidFill>
                <a:ea typeface="Microsoft Sans Serif" panose="020B0604020202020204" pitchFamily="34" charset="0"/>
                <a:cs typeface="Microsoft Sans Serif" panose="020B0604020202020204" pitchFamily="34" charset="0"/>
              </a:rPr>
              <a:t>© 2025 The Particle Zoo.</a:t>
            </a:r>
          </a:p>
        </p:txBody>
      </p:sp>
    </p:spTree>
    <p:extLst>
      <p:ext uri="{BB962C8B-B14F-4D97-AF65-F5344CB8AC3E}">
        <p14:creationId xmlns:p14="http://schemas.microsoft.com/office/powerpoint/2010/main" val="2628280804"/>
      </p:ext>
    </p:extLst>
  </p:cSld>
  <p:clrMapOvr>
    <a:masterClrMapping/>
  </p:clrMapOvr>
  <p:transition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B57E5B1-86FA-FDB0-885C-FEB3E8929DB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65810051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EB8E6E5E-FA9B-D33B-BFB6-4D1C97E544F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/>
              <a:t>Motivation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1839362-C16A-05AB-C9C8-BFB2287E7A5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dirty="0"/>
              <a:t>What is B meson mixing?</a:t>
            </a:r>
          </a:p>
          <a:p>
            <a:r>
              <a:rPr lang="en-GB" dirty="0"/>
              <a:t>Why does it matter?</a:t>
            </a:r>
          </a:p>
          <a:p>
            <a:r>
              <a:rPr lang="en-GB" dirty="0"/>
              <a:t>Why is our calculation useful?</a:t>
            </a:r>
          </a:p>
          <a:p>
            <a:endParaRPr lang="en-GB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35CC1B9-AAF7-A809-8318-AD94050EC62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>
            <a:normAutofit fontScale="25000" lnSpcReduction="20000"/>
          </a:bodyPr>
          <a:lstStyle/>
          <a:p>
            <a:fld id="{712354FD-0474-4525-BD33-C643DFB57DBF}" type="datetime3">
              <a:rPr lang="de-DE" smtClean="0"/>
              <a:t>01/07/2025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3C4C1AA-D226-87DC-CF1A-8E73A10EA82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>
            <a:normAutofit fontScale="25000" lnSpcReduction="20000"/>
          </a:bodyPr>
          <a:lstStyle/>
          <a:p>
            <a:r>
              <a:rPr lang="en-US"/>
              <a:t>Name - Title of Presentation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D12554D-773B-D782-31B0-6E76517D404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>
            <a:normAutofit fontScale="25000" lnSpcReduction="20000"/>
          </a:bodyPr>
          <a:lstStyle/>
          <a:p>
            <a:fld id="{776FC98F-84AD-404B-BCCB-49E092AA6DE0}" type="slidenum">
              <a:rPr lang="en-US" smtClean="0"/>
              <a:pPr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01265305"/>
      </p:ext>
    </p:extLst>
  </p:cSld>
  <p:clrMapOvr>
    <a:masterClrMapping/>
  </p:clrMapOvr>
  <p:transition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BD226FA6-F4B0-4E04-FE2F-9BBDC412CB8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5839574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7772400" imgH="10058400" progId="TCLayout.ActiveDocument.1">
                  <p:embed/>
                </p:oleObj>
              </mc:Choice>
              <mc:Fallback>
                <p:oleObj name="think-cell Slide" r:id="rId10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090F1C13-E85D-F146-1BAD-D99B4B029F9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/>
              <a:t>Neutral B mesons exhibit particle-antiparticle mixing.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Text Placeholder 2">
                <a:extLst>
                  <a:ext uri="{FF2B5EF4-FFF2-40B4-BE49-F238E27FC236}">
                    <a16:creationId xmlns:a16="http://schemas.microsoft.com/office/drawing/2014/main" id="{99C76365-AE15-28AC-2372-D3C2D2708148}"/>
                  </a:ext>
                </a:extLst>
              </p:cNvPr>
              <p:cNvSpPr>
                <a:spLocks noGrp="1"/>
              </p:cNvSpPr>
              <p:nvPr>
                <p:ph type="body" sz="quarter" idx="13"/>
              </p:nvPr>
            </p:nvSpPr>
            <p:spPr/>
            <p:txBody>
              <a:bodyPr/>
              <a:lstStyle/>
              <a:p>
                <a:pPr lvl="5"/>
                <a:r>
                  <a:rPr lang="en-GB" noProof="0" dirty="0"/>
                  <a:t>The mass eigenstates are not equal to the flavour eigenstates. </a:t>
                </a:r>
              </a:p>
              <a:p>
                <a:r>
                  <a:rPr lang="en-GB" noProof="0" dirty="0"/>
                  <a:t>The light (L) and heavy (H) mass eigenstates</a:t>
                </a:r>
              </a:p>
              <a:p>
                <a:endParaRPr lang="en-US" sz="2400" b="0" noProof="0" dirty="0"/>
              </a:p>
              <a:p>
                <a:r>
                  <a:rPr lang="en-GB" dirty="0"/>
                  <a:t>h</a:t>
                </a:r>
                <a:r>
                  <a:rPr lang="en-GB" noProof="0" dirty="0" err="1"/>
                  <a:t>ave</a:t>
                </a:r>
                <a:r>
                  <a:rPr lang="en-GB" noProof="0" dirty="0"/>
                  <a:t> a mass difference 		  and decay width difference		           </a:t>
                </a:r>
              </a:p>
              <a:p>
                <a:endParaRPr lang="en-GB" noProof="0" dirty="0"/>
              </a:p>
              <a:p>
                <a:pPr lvl="5"/>
                <a:r>
                  <a:rPr lang="en-GB" noProof="0" dirty="0"/>
                  <a:t>The time evolution mixes the flavour states. </a:t>
                </a:r>
              </a:p>
              <a:p>
                <a:r>
                  <a:rPr lang="en-GB" dirty="0"/>
                  <a:t>For example, a pure particle state        may either stay a particle (</a:t>
                </a:r>
                <a14:m>
                  <m:oMath xmlns:m="http://schemas.openxmlformats.org/officeDocument/2006/math">
                    <m:r>
                      <a:rPr lang="en-GB" i="1" dirty="0" smtClean="0">
                        <a:latin typeface="Cambria Math" panose="02040503050406030204" pitchFamily="18" charset="0"/>
                      </a:rPr>
                      <m:t>+</m:t>
                    </m:r>
                  </m:oMath>
                </a14:m>
                <a:r>
                  <a:rPr lang="en-GB" dirty="0"/>
                  <a:t>) or convert into an antiparticle (</a:t>
                </a:r>
                <a14:m>
                  <m:oMath xmlns:m="http://schemas.openxmlformats.org/officeDocument/2006/math">
                    <m:r>
                      <a:rPr lang="en-GB" i="1" dirty="0" smtClean="0">
                        <a:latin typeface="Cambria Math" panose="02040503050406030204" pitchFamily="18" charset="0"/>
                      </a:rPr>
                      <m:t>−</m:t>
                    </m:r>
                  </m:oMath>
                </a14:m>
                <a:r>
                  <a:rPr lang="en-GB" dirty="0"/>
                  <a:t>):</a:t>
                </a:r>
                <a:endParaRPr lang="en-GB" noProof="0" dirty="0"/>
              </a:p>
              <a:p>
                <a:endParaRPr lang="en-US" sz="2400" b="0" noProof="0" dirty="0"/>
              </a:p>
              <a:p>
                <a:r>
                  <a:rPr lang="en-GB" noProof="0" dirty="0"/>
                  <a:t>The time-dependent probabilities oscillate:</a:t>
                </a:r>
              </a:p>
              <a:p>
                <a:endParaRPr lang="en-GB" noProof="0" dirty="0"/>
              </a:p>
              <a:p>
                <a:endParaRPr lang="en-GB" noProof="0" dirty="0"/>
              </a:p>
            </p:txBody>
          </p:sp>
        </mc:Choice>
        <mc:Fallback xmlns="">
          <p:sp>
            <p:nvSpPr>
              <p:cNvPr id="3" name="Text Placeholder 2">
                <a:extLst>
                  <a:ext uri="{FF2B5EF4-FFF2-40B4-BE49-F238E27FC236}">
                    <a16:creationId xmlns:a16="http://schemas.microsoft.com/office/drawing/2014/main" id="{99C76365-AE15-28AC-2372-D3C2D2708148}"/>
                  </a:ext>
                </a:extLst>
              </p:cNvPr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type="body" sz="quarter" idx="13"/>
              </p:nvPr>
            </p:nvSpPr>
            <p:spPr>
              <a:blipFill>
                <a:blip r:embed="rId12"/>
                <a:stretch>
                  <a:fillRect l="-2935" t="-2432"/>
                </a:stretch>
              </a:blipFill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129F24BD-FA17-7F49-AC97-815829748DD0}"/>
              </a:ext>
            </a:extLst>
          </p:cNvPr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r>
              <a:rPr lang="de-DE" noProof="1"/>
              <a:t>08/07/2025</a:t>
            </a:r>
            <a:endParaRPr lang="en-US" noProof="1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77F23206-A008-40F0-886D-35A2ED487693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 dirty="0"/>
              <a:t>Pascal Reeck – B meson mixing at NNLO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4EE3A7D4-78DE-6C18-E556-BE40A7765D98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776FC98F-84AD-404B-BCCB-49E092AA6DE0}" type="slidenum">
              <a:rPr lang="en-US" noProof="1" smtClean="0"/>
              <a:pPr/>
              <a:t>3</a:t>
            </a:fld>
            <a:endParaRPr lang="en-US" noProof="1"/>
          </a:p>
        </p:txBody>
      </p:sp>
      <p:pic>
        <p:nvPicPr>
          <p:cNvPr id="16" name="Picture Placeholder 15" descr="A diagram of a diagram&#10;&#10;AI-generated content may be incorrect.">
            <a:extLst>
              <a:ext uri="{FF2B5EF4-FFF2-40B4-BE49-F238E27FC236}">
                <a16:creationId xmlns:a16="http://schemas.microsoft.com/office/drawing/2014/main" id="{71E50181-B36C-CFE6-AC6B-26EAECBF897E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13"/>
          <a:srcRect l="7644" r="7644"/>
          <a:stretch>
            <a:fillRect/>
          </a:stretch>
        </p:blipFill>
        <p:spPr>
          <a:xfrm>
            <a:off x="6962422" y="315535"/>
            <a:ext cx="4099349" cy="2347454"/>
          </a:xfrm>
        </p:spPr>
      </p:pic>
      <p:sp>
        <p:nvSpPr>
          <p:cNvPr id="9" name="SmartArt Placeholder 8">
            <a:extLst>
              <a:ext uri="{FF2B5EF4-FFF2-40B4-BE49-F238E27FC236}">
                <a16:creationId xmlns:a16="http://schemas.microsoft.com/office/drawing/2014/main" id="{05FD7BE2-5AFE-D20B-D706-155E76F3522D}"/>
              </a:ext>
            </a:extLst>
          </p:cNvPr>
          <p:cNvSpPr>
            <a:spLocks noGrp="1"/>
          </p:cNvSpPr>
          <p:nvPr>
            <p:ph type="dgm" sz="quarter" idx="21"/>
          </p:nvPr>
        </p:nvSpPr>
        <p:spPr/>
        <p:txBody>
          <a:bodyPr/>
          <a:lstStyle/>
          <a:p>
            <a:endParaRPr lang="en-GB"/>
          </a:p>
        </p:txBody>
      </p:sp>
      <p:pic>
        <p:nvPicPr>
          <p:cNvPr id="32" name="Picture 31" descr="A diagram of a graph&#10;&#10;AI-generated content may be incorrect.">
            <a:extLst>
              <a:ext uri="{FF2B5EF4-FFF2-40B4-BE49-F238E27FC236}">
                <a16:creationId xmlns:a16="http://schemas.microsoft.com/office/drawing/2014/main" id="{270BFA2A-C25B-12A9-51BF-565D05ACB254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6203950" y="2860745"/>
            <a:ext cx="5616294" cy="4000566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DDE24D3C-973D-F93D-BE63-2F43D447725E}"/>
              </a:ext>
            </a:extLst>
          </p:cNvPr>
          <p:cNvSpPr txBox="1"/>
          <p:nvPr/>
        </p:nvSpPr>
        <p:spPr bwMode="gray">
          <a:xfrm>
            <a:off x="999744" y="109728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180000" indent="-180000" algn="l" defTabSz="914347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SzPct val="90000"/>
              <a:buFont typeface="Wingdings" panose="05000000000000000000" pitchFamily="2" charset="2"/>
              <a:buChar char="§"/>
            </a:pPr>
            <a:endParaRPr lang="en-GB" sz="1400" dirty="0" err="1"/>
          </a:p>
        </p:txBody>
      </p:sp>
      <p:sp>
        <p:nvSpPr>
          <p:cNvPr id="12" name="Textfeld 45">
            <a:extLst>
              <a:ext uri="{FF2B5EF4-FFF2-40B4-BE49-F238E27FC236}">
                <a16:creationId xmlns:a16="http://schemas.microsoft.com/office/drawing/2014/main" id="{83C03DA5-E1F8-9B82-0928-980BF9A4B5C2}"/>
              </a:ext>
            </a:extLst>
          </p:cNvPr>
          <p:cNvSpPr txBox="1">
            <a:spLocks/>
          </p:cNvSpPr>
          <p:nvPr/>
        </p:nvSpPr>
        <p:spPr bwMode="gray">
          <a:xfrm>
            <a:off x="6205520" y="5951031"/>
            <a:ext cx="5986479" cy="900585"/>
          </a:xfrm>
          <a:prstGeom prst="rect">
            <a:avLst/>
          </a:prstGeom>
          <a:noFill/>
          <a:effectLst/>
        </p:spPr>
        <p:txBody>
          <a:bodyPr wrap="square" lIns="108000" tIns="0" rIns="0" bIns="108000" rtlCol="0" anchor="b">
            <a:noAutofit/>
          </a:bodyPr>
          <a:lstStyle/>
          <a:p>
            <a:pPr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</a:pPr>
            <a:r>
              <a:rPr lang="en-US" sz="1100" dirty="0">
                <a:solidFill>
                  <a:schemeClr val="tx1">
                    <a:alpha val="70000"/>
                  </a:schemeClr>
                </a:solidFill>
                <a:ea typeface="Microsoft Sans Serif" panose="020B0604020202020204" pitchFamily="34" charset="0"/>
                <a:cs typeface="Microsoft Sans Serif" panose="020B0604020202020204" pitchFamily="34" charset="0"/>
              </a:rPr>
              <a:t>© By </a:t>
            </a:r>
            <a:r>
              <a:rPr lang="en-US" sz="1100" dirty="0" err="1">
                <a:solidFill>
                  <a:schemeClr val="tx1">
                    <a:alpha val="70000"/>
                  </a:schemeClr>
                </a:solidFill>
                <a:ea typeface="Microsoft Sans Serif" panose="020B0604020202020204" pitchFamily="34" charset="0"/>
                <a:cs typeface="Microsoft Sans Serif" panose="020B0604020202020204" pitchFamily="34" charset="0"/>
              </a:rPr>
              <a:t>LHCb</a:t>
            </a:r>
            <a:r>
              <a:rPr lang="en-US" sz="1100" dirty="0">
                <a:solidFill>
                  <a:schemeClr val="tx1">
                    <a:alpha val="70000"/>
                  </a:schemeClr>
                </a:solidFill>
                <a:ea typeface="Microsoft Sans Serif" panose="020B0604020202020204" pitchFamily="34" charset="0"/>
                <a:cs typeface="Microsoft Sans Serif" panose="020B0604020202020204" pitchFamily="34" charset="0"/>
              </a:rPr>
              <a:t> - https://</a:t>
            </a:r>
            <a:r>
              <a:rPr lang="en-US" sz="1100" dirty="0" err="1">
                <a:solidFill>
                  <a:schemeClr val="tx1">
                    <a:alpha val="70000"/>
                  </a:schemeClr>
                </a:solidFill>
                <a:ea typeface="Microsoft Sans Serif" panose="020B0604020202020204" pitchFamily="34" charset="0"/>
                <a:cs typeface="Microsoft Sans Serif" panose="020B0604020202020204" pitchFamily="34" charset="0"/>
              </a:rPr>
              <a:t>lhcb-public.web.cern.ch</a:t>
            </a:r>
            <a:r>
              <a:rPr lang="en-US" sz="1100" dirty="0">
                <a:solidFill>
                  <a:schemeClr val="tx1">
                    <a:alpha val="70000"/>
                  </a:schemeClr>
                </a:solidFill>
                <a:ea typeface="Microsoft Sans Serif" panose="020B0604020202020204" pitchFamily="34" charset="0"/>
                <a:cs typeface="Microsoft Sans Serif" panose="020B0604020202020204" pitchFamily="34" charset="0"/>
              </a:rPr>
              <a:t>/Images2021/BsOsc21.png</a:t>
            </a:r>
          </a:p>
        </p:txBody>
      </p:sp>
      <p:pic>
        <p:nvPicPr>
          <p:cNvPr id="27" name="Picture 26" descr="\documentclass{article}&#10;\usepackage{amsmath}&#10;\usepackage{xcolor}&#10;\pagestyle{empty}&#10;\begin{document}&#10;&#10;\definecolor{KITblue}{RGB}{0, 45, 76}&#10;&#10;\begin{equation*}&#10;\color{KITblue}&#10;\lvert B_\text{L,H} \rangle = p \lvert B^0_q \rangle \pm q \lvert \bar{B^0}_q \rangle&#10;\end{equation*}&#10;&#10;&#10;\end{document}" title="IguanaTex Picture Display">
            <a:extLst>
              <a:ext uri="{FF2B5EF4-FFF2-40B4-BE49-F238E27FC236}">
                <a16:creationId xmlns:a16="http://schemas.microsoft.com/office/drawing/2014/main" id="{4AF3CEBA-010B-9E62-BE5E-B524B119AFA5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15"/>
          <a:stretch>
            <a:fillRect/>
          </a:stretch>
        </p:blipFill>
        <p:spPr>
          <a:xfrm>
            <a:off x="2100263" y="2585748"/>
            <a:ext cx="2103526" cy="258470"/>
          </a:xfrm>
          <a:prstGeom prst="rect">
            <a:avLst/>
          </a:prstGeom>
        </p:spPr>
      </p:pic>
      <p:pic>
        <p:nvPicPr>
          <p:cNvPr id="25" name="Picture 24" descr="\documentclass{article}&#10;\usepackage{amsmath}&#10;\usepackage{xcolor}&#10;\pagestyle{empty}&#10;\begin{document}&#10;&#10;\definecolor{KITblue}{RGB}{0, 45, 76}&#10;&#10;\begin{equation*}&#10;\color{KITblue}&#10;\Delta M = M_\text{H} - M_\text{L}&#10;\end{equation*}&#10;&#10;&#10;\end{document}" title="IguanaTex Picture Display">
            <a:extLst>
              <a:ext uri="{FF2B5EF4-FFF2-40B4-BE49-F238E27FC236}">
                <a16:creationId xmlns:a16="http://schemas.microsoft.com/office/drawing/2014/main" id="{790A533F-954A-C934-9886-859EB0AB29AA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16"/>
          <a:stretch>
            <a:fillRect/>
          </a:stretch>
        </p:blipFill>
        <p:spPr>
          <a:xfrm>
            <a:off x="2549788" y="3034208"/>
            <a:ext cx="1510182" cy="175565"/>
          </a:xfrm>
          <a:prstGeom prst="rect">
            <a:avLst/>
          </a:prstGeom>
        </p:spPr>
      </p:pic>
      <p:pic>
        <p:nvPicPr>
          <p:cNvPr id="33" name="Picture 32" descr="\documentclass{article}&#10;\usepackage{amsmath}&#10;\usepackage{xcolor}&#10;\pagestyle{empty}&#10;\begin{document}&#10;&#10;\definecolor{KITblue}{RGB}{0, 45, 76}&#10;&#10;\begin{equation*}&#10;\color{KITblue}&#10;\Delta \Gamma = \Gamma_\text{L} - \Gamma_\text{H}.&#10;\end{equation*}&#10;&#10;&#10;\end{document}" title="IguanaTex Picture Display">
            <a:extLst>
              <a:ext uri="{FF2B5EF4-FFF2-40B4-BE49-F238E27FC236}">
                <a16:creationId xmlns:a16="http://schemas.microsoft.com/office/drawing/2014/main" id="{1F63087E-FA2F-B5FF-6378-631F1113F075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17"/>
          <a:stretch>
            <a:fillRect/>
          </a:stretch>
        </p:blipFill>
        <p:spPr>
          <a:xfrm>
            <a:off x="1316305" y="3285831"/>
            <a:ext cx="1336243" cy="175565"/>
          </a:xfrm>
          <a:prstGeom prst="rect">
            <a:avLst/>
          </a:prstGeom>
        </p:spPr>
      </p:pic>
      <p:pic>
        <p:nvPicPr>
          <p:cNvPr id="35" name="Picture 34" descr="\documentclass{article}&#10;\usepackage{amsmath}&#10;\usepackage{xcolor}&#10;\pagestyle{empty}&#10;\begin{document}&#10;&#10;\definecolor{KITblue}{RGB}{0, 45, 76}&#10;&#10;\begin{equation*}&#10;\color{KITblue}&#10;\lvert B^0_q \rangle&#10;\end{equation*}&#10;&#10;&#10;\end{document}" title="IguanaTex Picture Display">
            <a:extLst>
              <a:ext uri="{FF2B5EF4-FFF2-40B4-BE49-F238E27FC236}">
                <a16:creationId xmlns:a16="http://schemas.microsoft.com/office/drawing/2014/main" id="{65EDC960-7FC0-41D3-18EE-8133706CCCEB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18"/>
          <a:stretch>
            <a:fillRect/>
          </a:stretch>
        </p:blipFill>
        <p:spPr>
          <a:xfrm>
            <a:off x="3450747" y="4359235"/>
            <a:ext cx="344627" cy="255219"/>
          </a:xfrm>
          <a:prstGeom prst="rect">
            <a:avLst/>
          </a:prstGeom>
        </p:spPr>
      </p:pic>
      <p:pic>
        <p:nvPicPr>
          <p:cNvPr id="39" name="Picture 38" descr="\documentclass{article}&#10;\usepackage{amsmath}&#10;\usepackage{xcolor}&#10;\pagestyle{empty}&#10;\begin{document}&#10;&#10;\definecolor{KITblue}{RGB}{0, 45, 76}&#10;&#10;\begin{equation*}&#10;\color{KITblue}&#10;\lvert B_q^0(t) \rangle = g_+(t) \lvert B^0_q \rangle +  g_-(t) \frac{q}{p} \lvert \bar{B^0}_q \rangle&#10;\end{equation*}&#10;&#10;&#10;\end{document}" title="IguanaTex Picture Display">
            <a:extLst>
              <a:ext uri="{FF2B5EF4-FFF2-40B4-BE49-F238E27FC236}">
                <a16:creationId xmlns:a16="http://schemas.microsoft.com/office/drawing/2014/main" id="{46754BDC-77EC-D317-A048-B1EF666CAF86}"/>
              </a:ext>
            </a:extLst>
          </p:cNvPr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19"/>
          <a:stretch>
            <a:fillRect/>
          </a:stretch>
        </p:blipFill>
        <p:spPr>
          <a:xfrm>
            <a:off x="1662263" y="4908398"/>
            <a:ext cx="3034995" cy="403149"/>
          </a:xfrm>
          <a:prstGeom prst="rect">
            <a:avLst/>
          </a:prstGeom>
        </p:spPr>
      </p:pic>
      <p:pic>
        <p:nvPicPr>
          <p:cNvPr id="43" name="Picture 42" descr="\documentclass{article}&#10;\usepackage{amsmath}&#10;\usepackage{xcolor}&#10;\pagestyle{empty}&#10;\begin{document}&#10;&#10;\definecolor{KITblue}{RGB}{0, 45, 76}&#10;&#10;\begin{equation*}&#10;\color{KITblue}&#10;\lvert g_\pm (t) \rvert^2 = \frac{e^{-\Gamma t}}{2} \left[ \text{cosh}\left(\frac{\Delta \Gamma t}{2}\right) \pm \text{cos}\left(\Delta M t\right ) \right]&#10;\end{equation*}&#10;&#10;&#10;\end{document}" title="IguanaTex Picture Display">
            <a:extLst>
              <a:ext uri="{FF2B5EF4-FFF2-40B4-BE49-F238E27FC236}">
                <a16:creationId xmlns:a16="http://schemas.microsoft.com/office/drawing/2014/main" id="{47017C7E-AA12-01AF-4265-C1A3542BFDEC}"/>
              </a:ext>
            </a:extLst>
          </p:cNvPr>
          <p:cNvPicPr>
            <a:picLocks noChangeAspect="1"/>
          </p:cNvPicPr>
          <p:nvPr>
            <p:custDataLst>
              <p:tags r:id="rId7"/>
            </p:custDataLst>
          </p:nvPr>
        </p:nvPicPr>
        <p:blipFill>
          <a:blip r:embed="rId20"/>
          <a:stretch>
            <a:fillRect/>
          </a:stretch>
        </p:blipFill>
        <p:spPr>
          <a:xfrm>
            <a:off x="1253424" y="5702314"/>
            <a:ext cx="3852672" cy="4974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35020215"/>
      </p:ext>
    </p:extLst>
  </p:cSld>
  <p:clrMapOvr>
    <a:masterClrMapping/>
  </p:clrMapOvr>
  <p:transition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AC80966-6108-B342-BD8E-50D17300D92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think-cell data - do not delete" hidden="1">
            <a:extLst>
              <a:ext uri="{FF2B5EF4-FFF2-40B4-BE49-F238E27FC236}">
                <a16:creationId xmlns:a16="http://schemas.microsoft.com/office/drawing/2014/main" id="{E7F495C8-00DB-3CD4-C721-E0034C368A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45013452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CD051D76-DA9C-9171-81F1-21645FFAD2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t"/>
          <a:lstStyle/>
          <a:p>
            <a:r>
              <a:rPr lang="en-US" dirty="0"/>
              <a:t>Why do we care about B meson mixing?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Textplatzhalter 2">
                <a:extLst>
                  <a:ext uri="{FF2B5EF4-FFF2-40B4-BE49-F238E27FC236}">
                    <a16:creationId xmlns:a16="http://schemas.microsoft.com/office/drawing/2014/main" id="{788F4C9C-5710-238F-0A89-E4BC0B8AF485}"/>
                  </a:ext>
                </a:extLst>
              </p:cNvPr>
              <p:cNvSpPr>
                <a:spLocks noGrp="1"/>
              </p:cNvSpPr>
              <p:nvPr>
                <p:ph type="body" sz="quarter" idx="13"/>
              </p:nvPr>
            </p:nvSpPr>
            <p:spPr>
              <a:xfrm>
                <a:off x="371474" y="1592263"/>
                <a:ext cx="5616575" cy="4684711"/>
              </a:xfrm>
            </p:spPr>
            <p:txBody>
              <a:bodyPr/>
              <a:lstStyle/>
              <a:p>
                <a:pPr lvl="5"/>
                <a:r>
                  <a:rPr lang="en-US" dirty="0"/>
                  <a:t>The B meson sector is sensitive to new physics!</a:t>
                </a:r>
                <a:br>
                  <a:rPr lang="en-US" dirty="0"/>
                </a:br>
                <a:endParaRPr lang="en-US" dirty="0"/>
              </a:p>
              <a:p>
                <a:r>
                  <a:rPr lang="en-US" dirty="0"/>
                  <a:t>There is possible tension between the Standard Model predictions and experimental measurements of B meson observables.</a:t>
                </a:r>
              </a:p>
              <a:p>
                <a:pPr lvl="1"/>
                <a:r>
                  <a:rPr lang="en-US" dirty="0"/>
                  <a:t>Baryogenesis and dark matter could arise from B meson oscillations </a:t>
                </a:r>
                <a:r>
                  <a:rPr lang="en-US" b="1" dirty="0">
                    <a:solidFill>
                      <a:schemeClr val="accent3"/>
                    </a:solidFill>
                  </a:rPr>
                  <a:t>[</a:t>
                </a:r>
                <a:r>
                  <a:rPr lang="en-US" b="1" dirty="0" err="1">
                    <a:solidFill>
                      <a:schemeClr val="accent3"/>
                    </a:solidFill>
                  </a:rPr>
                  <a:t>Elor</a:t>
                </a:r>
                <a:r>
                  <a:rPr lang="en-US" b="1" dirty="0">
                    <a:solidFill>
                      <a:schemeClr val="accent3"/>
                    </a:solidFill>
                  </a:rPr>
                  <a:t>, Escudero &amp; Nelson, 2019]</a:t>
                </a:r>
                <a:endParaRPr lang="en-US" dirty="0"/>
              </a:p>
              <a:p>
                <a:pPr lvl="1"/>
                <a:r>
                  <a:rPr lang="en-US" dirty="0"/>
                  <a:t>Experimental measurements ahead of theoretical predictions</a:t>
                </a:r>
              </a:p>
              <a:p>
                <a:pPr lvl="1"/>
                <a:r>
                  <a:rPr lang="en-US" dirty="0"/>
                  <a:t>|</a:t>
                </a:r>
                <a:r>
                  <a:rPr lang="en-US" dirty="0" err="1"/>
                  <a:t>V</a:t>
                </a:r>
                <a:r>
                  <a:rPr lang="en-US" baseline="-25000" dirty="0" err="1"/>
                  <a:t>cb</a:t>
                </a:r>
                <a:r>
                  <a:rPr lang="en-US" dirty="0"/>
                  <a:t>| can be excluded in ratios, allowing for a ”clean” probe into new physics</a:t>
                </a:r>
              </a:p>
              <a:p>
                <a:pPr lvl="1"/>
                <a14:m>
                  <m:oMath xmlns:m="http://schemas.openxmlformats.org/officeDocument/2006/math">
                    <m:sSub>
                      <m:sSubPr>
                        <m:ctrlPr>
                          <a:rPr lang="en-US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𝑎</m:t>
                        </m:r>
                      </m:e>
                      <m:sub>
                        <m:r>
                          <m:rPr>
                            <m:nor/>
                          </m:rPr>
                          <a:rPr lang="en-US" b="0" i="0" smtClean="0">
                            <a:latin typeface="Cambria Math" panose="02040503050406030204" pitchFamily="18" charset="0"/>
                          </a:rPr>
                          <m:t>fs</m:t>
                        </m:r>
                      </m:sub>
                    </m:sSub>
                  </m:oMath>
                </a14:m>
                <a:r>
                  <a:rPr lang="en-US" dirty="0"/>
                  <a:t> can be used to constrain the CKM triangle</a:t>
                </a:r>
              </a:p>
            </p:txBody>
          </p:sp>
        </mc:Choice>
        <mc:Fallback xmlns="">
          <p:sp>
            <p:nvSpPr>
              <p:cNvPr id="3" name="Textplatzhalter 2">
                <a:extLst>
                  <a:ext uri="{FF2B5EF4-FFF2-40B4-BE49-F238E27FC236}">
                    <a16:creationId xmlns:a16="http://schemas.microsoft.com/office/drawing/2014/main" id="{788F4C9C-5710-238F-0A89-E4BC0B8AF485}"/>
                  </a:ext>
                </a:extLst>
              </p:cNvPr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type="body" sz="quarter" idx="13"/>
              </p:nvPr>
            </p:nvSpPr>
            <p:spPr>
              <a:xfrm>
                <a:off x="371474" y="1592263"/>
                <a:ext cx="5616575" cy="4684711"/>
              </a:xfrm>
              <a:blipFill>
                <a:blip r:embed="rId6"/>
                <a:stretch>
                  <a:fillRect l="-2935" t="-2432" r="-1580"/>
                </a:stretch>
              </a:blipFill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435B3449-D4F0-4433-49F1-3E14C2196F27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de-DE" dirty="0"/>
              <a:t>08/07/2025</a:t>
            </a:r>
            <a:endParaRPr lang="en-US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CE413CAC-4100-E80D-C27C-504969479C4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dirty="0"/>
              <a:t>Pascal Reeck – B meson mixing at NNLO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F9911241-4629-49AD-02EC-9EB18E981D4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76FC98F-84AD-404B-BCCB-49E092AA6DE0}" type="slidenum">
              <a:rPr lang="en-US" smtClean="0"/>
              <a:pPr/>
              <a:t>4</a:t>
            </a:fld>
            <a:endParaRPr lang="en-US" dirty="0"/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12B08B10-B79E-F1FC-6E77-0E8AAE80D49D}"/>
              </a:ext>
            </a:extLst>
          </p:cNvPr>
          <p:cNvPicPr>
            <a:picLocks noChangeAspect="1"/>
          </p:cNvPicPr>
          <p:nvPr/>
        </p:nvPicPr>
        <p:blipFill>
          <a:blip r:embed="rId7"/>
          <a:srcRect/>
          <a:stretch/>
        </p:blipFill>
        <p:spPr>
          <a:xfrm>
            <a:off x="6400796" y="1461969"/>
            <a:ext cx="5406888" cy="4093065"/>
          </a:xfrm>
          <a:prstGeom prst="rect">
            <a:avLst/>
          </a:prstGeom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21" name="Rechteck 12">
                <a:extLst>
                  <a:ext uri="{FF2B5EF4-FFF2-40B4-BE49-F238E27FC236}">
                    <a16:creationId xmlns:a16="http://schemas.microsoft.com/office/drawing/2014/main" id="{102EA67B-356D-39D7-5A03-5C38A740DFD3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71474" y="5673473"/>
                <a:ext cx="11449050" cy="600327"/>
              </a:xfrm>
              <a:prstGeom prst="rect">
                <a:avLst/>
              </a:prstGeom>
              <a:solidFill>
                <a:schemeClr val="tx1"/>
              </a:solidFill>
              <a:ln w="317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144000" tIns="144000" rIns="144000" bIns="144000" rtlCol="0" anchor="ctr"/>
              <a:lstStyle/>
              <a:p>
                <a:pPr algn="ctr"/>
                <a:r>
                  <a:rPr lang="en-US" sz="1600" b="1" dirty="0">
                    <a:solidFill>
                      <a:schemeClr val="bg1"/>
                    </a:solidFill>
                  </a:rPr>
                  <a:t>To identify room for new physics, we need to improve the theoretical prediction of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sz="1600" b="1" i="1" smtClean="0">
                            <a:solidFill>
                              <a:schemeClr val="bg1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sz="1600" b="1" i="0" smtClean="0">
                            <a:solidFill>
                              <a:schemeClr val="bg1"/>
                            </a:solidFill>
                            <a:latin typeface="Cambria Math" panose="02040503050406030204" pitchFamily="18" charset="0"/>
                          </a:rPr>
                          <m:t>𝚪</m:t>
                        </m:r>
                      </m:e>
                      <m:sub>
                        <m:r>
                          <a:rPr lang="en-US" sz="1600" b="1" i="0" smtClean="0">
                            <a:solidFill>
                              <a:schemeClr val="bg1"/>
                            </a:solidFill>
                            <a:latin typeface="Cambria Math" panose="02040503050406030204" pitchFamily="18" charset="0"/>
                          </a:rPr>
                          <m:t>𝟏𝟐</m:t>
                        </m:r>
                      </m:sub>
                    </m:sSub>
                  </m:oMath>
                </a14:m>
                <a:r>
                  <a:rPr lang="en-US" sz="1600" b="1" dirty="0">
                    <a:solidFill>
                      <a:schemeClr val="bg1"/>
                    </a:solidFill>
                  </a:rPr>
                  <a:t>!</a:t>
                </a:r>
              </a:p>
            </p:txBody>
          </p:sp>
        </mc:Choice>
        <mc:Fallback xmlns="">
          <p:sp>
            <p:nvSpPr>
              <p:cNvPr id="21" name="Rechteck 12">
                <a:extLst>
                  <a:ext uri="{FF2B5EF4-FFF2-40B4-BE49-F238E27FC236}">
                    <a16:creationId xmlns:a16="http://schemas.microsoft.com/office/drawing/2014/main" id="{102EA67B-356D-39D7-5A03-5C38A740DFD3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gray">
              <a:xfrm>
                <a:off x="371474" y="5673473"/>
                <a:ext cx="11449050" cy="600327"/>
              </a:xfrm>
              <a:prstGeom prst="rect">
                <a:avLst/>
              </a:prstGeom>
              <a:blipFill>
                <a:blip r:embed="rId8"/>
                <a:stretch>
                  <a:fillRect/>
                </a:stretch>
              </a:blipFill>
              <a:ln w="3175">
                <a:solidFill>
                  <a:schemeClr val="tx1"/>
                </a:solidFill>
              </a:ln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7" name="Textfeld 45">
            <a:extLst>
              <a:ext uri="{FF2B5EF4-FFF2-40B4-BE49-F238E27FC236}">
                <a16:creationId xmlns:a16="http://schemas.microsoft.com/office/drawing/2014/main" id="{138D806C-8608-F69B-C047-A5D79785A55C}"/>
              </a:ext>
            </a:extLst>
          </p:cNvPr>
          <p:cNvSpPr txBox="1">
            <a:spLocks/>
          </p:cNvSpPr>
          <p:nvPr/>
        </p:nvSpPr>
        <p:spPr bwMode="gray">
          <a:xfrm>
            <a:off x="6205521" y="5135399"/>
            <a:ext cx="5615004" cy="620461"/>
          </a:xfrm>
          <a:prstGeom prst="rect">
            <a:avLst/>
          </a:prstGeom>
          <a:noFill/>
          <a:effectLst/>
        </p:spPr>
        <p:txBody>
          <a:bodyPr wrap="square" lIns="108000" tIns="0" rIns="0" bIns="108000" rtlCol="0" anchor="b">
            <a:noAutofit/>
          </a:bodyPr>
          <a:lstStyle/>
          <a:p>
            <a:pPr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</a:pPr>
            <a:r>
              <a:rPr lang="en-US" sz="1100" dirty="0">
                <a:solidFill>
                  <a:schemeClr val="tx1">
                    <a:alpha val="70000"/>
                  </a:schemeClr>
                </a:solidFill>
                <a:ea typeface="Microsoft Sans Serif" panose="020B0604020202020204" pitchFamily="34" charset="0"/>
                <a:cs typeface="Microsoft Sans Serif" panose="020B0604020202020204" pitchFamily="34" charset="0"/>
              </a:rPr>
              <a:t>©  [Gerlach, </a:t>
            </a:r>
            <a:r>
              <a:rPr lang="en-US" sz="1100" dirty="0" err="1">
                <a:solidFill>
                  <a:schemeClr val="tx1">
                    <a:alpha val="70000"/>
                  </a:schemeClr>
                </a:solidFill>
                <a:ea typeface="Microsoft Sans Serif" panose="020B0604020202020204" pitchFamily="34" charset="0"/>
                <a:cs typeface="Microsoft Sans Serif" panose="020B0604020202020204" pitchFamily="34" charset="0"/>
              </a:rPr>
              <a:t>Nierste</a:t>
            </a:r>
            <a:r>
              <a:rPr lang="en-US" sz="1100" dirty="0">
                <a:solidFill>
                  <a:schemeClr val="tx1">
                    <a:alpha val="70000"/>
                  </a:schemeClr>
                </a:solidFill>
                <a:ea typeface="Microsoft Sans Serif" panose="020B0604020202020204" pitchFamily="34" charset="0"/>
                <a:cs typeface="Microsoft Sans Serif" panose="020B0604020202020204" pitchFamily="34" charset="0"/>
              </a:rPr>
              <a:t>, Reeck, </a:t>
            </a:r>
            <a:r>
              <a:rPr lang="en-US" sz="1100" dirty="0" err="1">
                <a:solidFill>
                  <a:schemeClr val="tx1">
                    <a:alpha val="70000"/>
                  </a:schemeClr>
                </a:solidFill>
                <a:ea typeface="Microsoft Sans Serif" panose="020B0604020202020204" pitchFamily="34" charset="0"/>
                <a:cs typeface="Microsoft Sans Serif" panose="020B0604020202020204" pitchFamily="34" charset="0"/>
              </a:rPr>
              <a:t>Shtabovenko</a:t>
            </a:r>
            <a:r>
              <a:rPr lang="en-US" sz="1100" dirty="0">
                <a:solidFill>
                  <a:schemeClr val="tx1">
                    <a:alpha val="70000"/>
                  </a:schemeClr>
                </a:solidFill>
                <a:ea typeface="Microsoft Sans Serif" panose="020B0604020202020204" pitchFamily="34" charset="0"/>
                <a:cs typeface="Microsoft Sans Serif" panose="020B0604020202020204" pitchFamily="34" charset="0"/>
              </a:rPr>
              <a:t>, Steinhauser, 2025]</a:t>
            </a:r>
          </a:p>
        </p:txBody>
      </p:sp>
    </p:spTree>
    <p:extLst>
      <p:ext uri="{BB962C8B-B14F-4D97-AF65-F5344CB8AC3E}">
        <p14:creationId xmlns:p14="http://schemas.microsoft.com/office/powerpoint/2010/main" val="3952385932"/>
      </p:ext>
    </p:extLst>
  </p:cSld>
  <p:clrMapOvr>
    <a:masterClrMapping/>
  </p:clrMapOvr>
  <p:transition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6101BE3-9BF1-68C7-8450-AF3591EFB74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think-cell data - do not delete" hidden="1">
            <a:extLst>
              <a:ext uri="{FF2B5EF4-FFF2-40B4-BE49-F238E27FC236}">
                <a16:creationId xmlns:a16="http://schemas.microsoft.com/office/drawing/2014/main" id="{6CF2F560-B9CB-0E28-F89A-58A0502A81D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21021115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6" imgW="7772400" imgH="10058400" progId="TCLayout.ActiveDocument.1">
                  <p:embed/>
                </p:oleObj>
              </mc:Choice>
              <mc:Fallback>
                <p:oleObj name="think-cell Slide" r:id="rId16" imgW="7772400" imgH="10058400" progId="TCLayout.ActiveDocument.1">
                  <p:embed/>
                  <p:pic>
                    <p:nvPicPr>
                      <p:cNvPr id="1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7F495C8-00DB-3CD4-C721-E0034C368A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55CAEDAF-F836-9A32-1072-E524A15B548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t"/>
          <a:lstStyle/>
          <a:p>
            <a:r>
              <a:rPr lang="en-US" dirty="0"/>
              <a:t>Our goal is to reduce the uncertainty due to high-energy QCD corrections.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Textplatzhalter 2">
                <a:extLst>
                  <a:ext uri="{FF2B5EF4-FFF2-40B4-BE49-F238E27FC236}">
                    <a16:creationId xmlns:a16="http://schemas.microsoft.com/office/drawing/2014/main" id="{EFCFF49B-6F85-B0B1-B9B6-23EC01533FA5}"/>
                  </a:ext>
                </a:extLst>
              </p:cNvPr>
              <p:cNvSpPr>
                <a:spLocks noGrp="1"/>
              </p:cNvSpPr>
              <p:nvPr>
                <p:ph type="body" sz="quarter" idx="13"/>
              </p:nvPr>
            </p:nvSpPr>
            <p:spPr>
              <a:xfrm>
                <a:off x="371474" y="1592263"/>
                <a:ext cx="5616575" cy="4684711"/>
              </a:xfrm>
            </p:spPr>
            <p:txBody>
              <a:bodyPr/>
              <a:lstStyle/>
              <a:p>
                <a:pPr lvl="5"/>
                <a:r>
                  <a:rPr lang="en-US" dirty="0"/>
                  <a:t>High-energy QCD corrections are a large source of uncertainty.</a:t>
                </a:r>
              </a:p>
              <a:p>
                <a:pPr lvl="1"/>
                <a:r>
                  <a:rPr lang="en-US" dirty="0"/>
                  <a:t>Truncation of the perturbation series in the strong coupling constant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𝛼</m:t>
                        </m:r>
                      </m:e>
                      <m:sub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𝑠</m:t>
                        </m:r>
                      </m:sub>
                    </m:sSub>
                    <m:r>
                      <a:rPr lang="en-US" b="0" i="1" smtClean="0">
                        <a:latin typeface="Cambria Math" panose="02040503050406030204" pitchFamily="18" charset="0"/>
                      </a:rPr>
                      <m:t> </m:t>
                    </m:r>
                  </m:oMath>
                </a14:m>
                <a:r>
                  <a:rPr lang="en-US" dirty="0"/>
                  <a:t>leads to scale uncertainty</a:t>
                </a:r>
              </a:p>
              <a:p>
                <a:pPr lvl="1"/>
                <a:r>
                  <a:rPr lang="en-US" dirty="0"/>
                  <a:t>The main other source of uncertainty is from </a:t>
                </a:r>
                <a14:m>
                  <m:oMath xmlns:m="http://schemas.openxmlformats.org/officeDocument/2006/math">
                    <m:f>
                      <m:fPr>
                        <m:ctrlPr>
                          <a:rPr lang="en-US" b="0" i="1" smtClean="0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1</m:t>
                        </m:r>
                      </m:num>
                      <m:den>
                        <m:sSub>
                          <m:sSubPr>
                            <m:ctrlPr>
                              <a:rPr lang="en-US" b="0" i="1" smtClean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b="0" i="1" smtClean="0">
                                <a:latin typeface="Cambria Math" panose="02040503050406030204" pitchFamily="18" charset="0"/>
                              </a:rPr>
                              <m:t>𝑚</m:t>
                            </m:r>
                          </m:e>
                          <m:sub>
                            <m:r>
                              <a:rPr lang="en-US" b="0" i="1" smtClean="0">
                                <a:latin typeface="Cambria Math" panose="02040503050406030204" pitchFamily="18" charset="0"/>
                              </a:rPr>
                              <m:t>𝑏</m:t>
                            </m:r>
                          </m:sub>
                        </m:sSub>
                      </m:den>
                    </m:f>
                    <m:r>
                      <a:rPr lang="en-US" b="0" i="0" smtClean="0">
                        <a:latin typeface="Cambria Math" panose="02040503050406030204" pitchFamily="18" charset="0"/>
                      </a:rPr>
                      <m:t>  </m:t>
                    </m:r>
                  </m:oMath>
                </a14:m>
                <a:r>
                  <a:rPr lang="en-US" dirty="0"/>
                  <a:t>suppressed low-energy matrix elements</a:t>
                </a:r>
              </a:p>
              <a:p>
                <a:pPr lvl="5"/>
                <a:r>
                  <a:rPr lang="en-US" dirty="0"/>
                  <a:t>Partial results are available at NLO and NNLO.</a:t>
                </a:r>
              </a:p>
              <a:p>
                <a:pPr lvl="1"/>
                <a:r>
                  <a:rPr lang="en-US" dirty="0"/>
                  <a:t>NLO: missing exact </a:t>
                </a:r>
                <a14:m>
                  <m:oMath xmlns:m="http://schemas.openxmlformats.org/officeDocument/2006/math">
                    <m:f>
                      <m:fPr>
                        <m:ctrlPr>
                          <a:rPr lang="en-US" b="0" i="1" smtClean="0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sSub>
                          <m:sSubPr>
                            <m:ctrlPr>
                              <a:rPr lang="en-US" b="0" i="1" smtClean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b="0" i="1" smtClean="0">
                                <a:latin typeface="Cambria Math" panose="02040503050406030204" pitchFamily="18" charset="0"/>
                              </a:rPr>
                              <m:t>𝑚</m:t>
                            </m:r>
                          </m:e>
                          <m:sub>
                            <m:r>
                              <a:rPr lang="en-US" b="0" i="1" smtClean="0">
                                <a:latin typeface="Cambria Math" panose="02040503050406030204" pitchFamily="18" charset="0"/>
                              </a:rPr>
                              <m:t>𝑐</m:t>
                            </m:r>
                          </m:sub>
                        </m:sSub>
                      </m:num>
                      <m:den>
                        <m:sSub>
                          <m:sSubPr>
                            <m:ctrlPr>
                              <a:rPr lang="en-US" b="0" i="1" smtClean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b="0" i="1" smtClean="0">
                                <a:latin typeface="Cambria Math" panose="02040503050406030204" pitchFamily="18" charset="0"/>
                              </a:rPr>
                              <m:t>𝑚</m:t>
                            </m:r>
                          </m:e>
                          <m:sub>
                            <m:r>
                              <a:rPr lang="en-US" b="0" i="1" smtClean="0">
                                <a:latin typeface="Cambria Math" panose="02040503050406030204" pitchFamily="18" charset="0"/>
                              </a:rPr>
                              <m:t>𝑏</m:t>
                            </m:r>
                          </m:sub>
                        </m:sSub>
                      </m:den>
                    </m:f>
                  </m:oMath>
                </a14:m>
                <a:r>
                  <a:rPr lang="en-US" dirty="0"/>
                  <a:t> for some contributions</a:t>
                </a:r>
              </a:p>
              <a:p>
                <a:pPr marL="0" lvl="1" indent="0">
                  <a:buNone/>
                </a:pPr>
                <a:r>
                  <a:rPr lang="en-US" sz="1100" b="1" dirty="0">
                    <a:solidFill>
                      <a:schemeClr val="accent3"/>
                    </a:solidFill>
                  </a:rPr>
                  <a:t>[</a:t>
                </a:r>
                <a:r>
                  <a:rPr lang="en-US" sz="1100" b="1" dirty="0" err="1">
                    <a:solidFill>
                      <a:schemeClr val="accent3"/>
                    </a:solidFill>
                  </a:rPr>
                  <a:t>Beneke</a:t>
                </a:r>
                <a:r>
                  <a:rPr lang="en-US" sz="1100" b="1" dirty="0">
                    <a:solidFill>
                      <a:schemeClr val="accent3"/>
                    </a:solidFill>
                  </a:rPr>
                  <a:t>, </a:t>
                </a:r>
                <a:r>
                  <a:rPr lang="en-US" sz="1100" b="1" dirty="0" err="1">
                    <a:solidFill>
                      <a:schemeClr val="accent3"/>
                    </a:solidFill>
                  </a:rPr>
                  <a:t>Buchalla</a:t>
                </a:r>
                <a:r>
                  <a:rPr lang="en-US" sz="1100" b="1" dirty="0">
                    <a:solidFill>
                      <a:schemeClr val="accent3"/>
                    </a:solidFill>
                  </a:rPr>
                  <a:t>, </a:t>
                </a:r>
                <a:r>
                  <a:rPr lang="en-US" sz="1100" b="1" dirty="0" err="1">
                    <a:solidFill>
                      <a:schemeClr val="accent3"/>
                    </a:solidFill>
                  </a:rPr>
                  <a:t>Greub</a:t>
                </a:r>
                <a:r>
                  <a:rPr lang="en-US" sz="1100" b="1" dirty="0">
                    <a:solidFill>
                      <a:schemeClr val="accent3"/>
                    </a:solidFill>
                  </a:rPr>
                  <a:t>, Lenz, </a:t>
                </a:r>
                <a:r>
                  <a:rPr lang="en-US" sz="1100" b="1" dirty="0" err="1">
                    <a:solidFill>
                      <a:schemeClr val="accent3"/>
                    </a:solidFill>
                  </a:rPr>
                  <a:t>Nierste</a:t>
                </a:r>
                <a:r>
                  <a:rPr lang="en-US" sz="1100" b="1" dirty="0">
                    <a:solidFill>
                      <a:schemeClr val="accent3"/>
                    </a:solidFill>
                  </a:rPr>
                  <a:t>, 1999], [</a:t>
                </a:r>
                <a:r>
                  <a:rPr lang="en-US" sz="1100" b="1" dirty="0" err="1">
                    <a:solidFill>
                      <a:schemeClr val="accent3"/>
                    </a:solidFill>
                  </a:rPr>
                  <a:t>Ciuchini</a:t>
                </a:r>
                <a:r>
                  <a:rPr lang="en-US" sz="1100" b="1" dirty="0">
                    <a:solidFill>
                      <a:schemeClr val="accent3"/>
                    </a:solidFill>
                  </a:rPr>
                  <a:t>, Franco, </a:t>
                </a:r>
                <a:r>
                  <a:rPr lang="en-US" sz="1100" b="1" dirty="0" err="1">
                    <a:solidFill>
                      <a:schemeClr val="accent3"/>
                    </a:solidFill>
                  </a:rPr>
                  <a:t>Lubicz</a:t>
                </a:r>
                <a:r>
                  <a:rPr lang="en-US" sz="1100" b="1" dirty="0">
                    <a:solidFill>
                      <a:schemeClr val="accent3"/>
                    </a:solidFill>
                  </a:rPr>
                  <a:t>, </a:t>
                </a:r>
                <a:r>
                  <a:rPr lang="en-US" sz="1100" b="1" dirty="0" err="1">
                    <a:solidFill>
                      <a:schemeClr val="accent3"/>
                    </a:solidFill>
                  </a:rPr>
                  <a:t>Mescia</a:t>
                </a:r>
                <a:r>
                  <a:rPr lang="en-US" sz="1100" b="1" dirty="0">
                    <a:solidFill>
                      <a:schemeClr val="accent3"/>
                    </a:solidFill>
                  </a:rPr>
                  <a:t>, Tarantino, 2003], [</a:t>
                </a:r>
                <a:r>
                  <a:rPr lang="en-US" sz="1100" b="1" dirty="0" err="1">
                    <a:solidFill>
                      <a:schemeClr val="accent3"/>
                    </a:solidFill>
                  </a:rPr>
                  <a:t>Beneke</a:t>
                </a:r>
                <a:r>
                  <a:rPr lang="en-US" sz="1100" b="1" dirty="0">
                    <a:solidFill>
                      <a:schemeClr val="accent3"/>
                    </a:solidFill>
                  </a:rPr>
                  <a:t>, </a:t>
                </a:r>
                <a:r>
                  <a:rPr lang="en-US" sz="1100" b="1" dirty="0" err="1">
                    <a:solidFill>
                      <a:schemeClr val="accent3"/>
                    </a:solidFill>
                  </a:rPr>
                  <a:t>Buchalla</a:t>
                </a:r>
                <a:r>
                  <a:rPr lang="en-US" sz="1100" b="1" dirty="0">
                    <a:solidFill>
                      <a:schemeClr val="accent3"/>
                    </a:solidFill>
                  </a:rPr>
                  <a:t>, Lenz, </a:t>
                </a:r>
                <a:r>
                  <a:rPr lang="en-US" sz="1100" b="1" dirty="0" err="1">
                    <a:solidFill>
                      <a:schemeClr val="accent3"/>
                    </a:solidFill>
                  </a:rPr>
                  <a:t>Nierste</a:t>
                </a:r>
                <a:r>
                  <a:rPr lang="en-US" sz="1100" b="1" dirty="0">
                    <a:solidFill>
                      <a:schemeClr val="accent3"/>
                    </a:solidFill>
                  </a:rPr>
                  <a:t>, 2003], [Lenz, </a:t>
                </a:r>
                <a:r>
                  <a:rPr lang="en-US" sz="1100" b="1" dirty="0" err="1">
                    <a:solidFill>
                      <a:schemeClr val="accent3"/>
                    </a:solidFill>
                  </a:rPr>
                  <a:t>Nierste</a:t>
                </a:r>
                <a:r>
                  <a:rPr lang="en-US" sz="1100" b="1" dirty="0">
                    <a:solidFill>
                      <a:schemeClr val="accent3"/>
                    </a:solidFill>
                  </a:rPr>
                  <a:t>, 2009]</a:t>
                </a:r>
              </a:p>
              <a:p>
                <a:pPr lvl="1"/>
                <a:r>
                  <a:rPr lang="en-US" dirty="0"/>
                  <a:t>NNLO: missing operator contributions and expansion depth</a:t>
                </a:r>
              </a:p>
              <a:p>
                <a:pPr marL="0" lvl="1" indent="0">
                  <a:buNone/>
                </a:pPr>
                <a:r>
                  <a:rPr lang="en-US" sz="1100" b="1" dirty="0">
                    <a:solidFill>
                      <a:schemeClr val="accent3"/>
                    </a:solidFill>
                  </a:rPr>
                  <a:t>[</a:t>
                </a:r>
                <a:r>
                  <a:rPr lang="en-US" sz="1100" b="1" dirty="0" err="1">
                    <a:solidFill>
                      <a:schemeClr val="accent3"/>
                    </a:solidFill>
                  </a:rPr>
                  <a:t>Asatrian</a:t>
                </a:r>
                <a:r>
                  <a:rPr lang="en-US" sz="1100" b="1" dirty="0">
                    <a:solidFill>
                      <a:schemeClr val="accent3"/>
                    </a:solidFill>
                  </a:rPr>
                  <a:t>, Hovhannisyan, </a:t>
                </a:r>
                <a:r>
                  <a:rPr lang="en-US" sz="1100" b="1" dirty="0" err="1">
                    <a:solidFill>
                      <a:schemeClr val="accent3"/>
                    </a:solidFill>
                  </a:rPr>
                  <a:t>Nierste</a:t>
                </a:r>
                <a:r>
                  <a:rPr lang="en-US" sz="1100" b="1" dirty="0">
                    <a:solidFill>
                      <a:schemeClr val="accent3"/>
                    </a:solidFill>
                  </a:rPr>
                  <a:t>, Yeghiazaryan, 2017], [</a:t>
                </a:r>
                <a:r>
                  <a:rPr lang="en-US" sz="1100" b="1" dirty="0" err="1">
                    <a:solidFill>
                      <a:schemeClr val="accent3"/>
                    </a:solidFill>
                  </a:rPr>
                  <a:t>Asatrian</a:t>
                </a:r>
                <a:r>
                  <a:rPr lang="en-US" sz="1100" b="1" dirty="0">
                    <a:solidFill>
                      <a:schemeClr val="accent3"/>
                    </a:solidFill>
                  </a:rPr>
                  <a:t>, </a:t>
                </a:r>
                <a:r>
                  <a:rPr lang="en-US" sz="1100" b="1" dirty="0" err="1">
                    <a:solidFill>
                      <a:schemeClr val="accent3"/>
                    </a:solidFill>
                  </a:rPr>
                  <a:t>Hrachya</a:t>
                </a:r>
                <a:r>
                  <a:rPr lang="en-US" sz="1100" b="1" dirty="0">
                    <a:solidFill>
                      <a:schemeClr val="accent3"/>
                    </a:solidFill>
                  </a:rPr>
                  <a:t> H. Asatryan, Hovhannisyan, </a:t>
                </a:r>
                <a:r>
                  <a:rPr lang="en-US" sz="1100" b="1" dirty="0" err="1">
                    <a:solidFill>
                      <a:schemeClr val="accent3"/>
                    </a:solidFill>
                  </a:rPr>
                  <a:t>Nierste</a:t>
                </a:r>
                <a:r>
                  <a:rPr lang="en-US" sz="1100" b="1" dirty="0">
                    <a:solidFill>
                      <a:schemeClr val="accent3"/>
                    </a:solidFill>
                  </a:rPr>
                  <a:t>, </a:t>
                </a:r>
                <a:r>
                  <a:rPr lang="en-US" sz="1100" b="1" dirty="0" err="1">
                    <a:solidFill>
                      <a:schemeClr val="accent3"/>
                    </a:solidFill>
                  </a:rPr>
                  <a:t>Tumasyan</a:t>
                </a:r>
                <a:r>
                  <a:rPr lang="en-US" sz="1100" b="1" dirty="0">
                    <a:solidFill>
                      <a:schemeClr val="accent3"/>
                    </a:solidFill>
                  </a:rPr>
                  <a:t>, Yeghiazaryan, 2020], [Gerlach, </a:t>
                </a:r>
                <a:r>
                  <a:rPr lang="en-US" sz="1100" b="1" dirty="0" err="1">
                    <a:solidFill>
                      <a:schemeClr val="accent3"/>
                    </a:solidFill>
                  </a:rPr>
                  <a:t>Nierste</a:t>
                </a:r>
                <a:r>
                  <a:rPr lang="en-US" sz="1100" b="1" dirty="0">
                    <a:solidFill>
                      <a:schemeClr val="accent3"/>
                    </a:solidFill>
                  </a:rPr>
                  <a:t>, </a:t>
                </a:r>
                <a:r>
                  <a:rPr lang="en-US" sz="1100" b="1" dirty="0" err="1">
                    <a:solidFill>
                      <a:schemeClr val="accent3"/>
                    </a:solidFill>
                  </a:rPr>
                  <a:t>Shtabovenko</a:t>
                </a:r>
                <a:r>
                  <a:rPr lang="en-US" sz="1100" b="1" dirty="0">
                    <a:solidFill>
                      <a:schemeClr val="accent3"/>
                    </a:solidFill>
                  </a:rPr>
                  <a:t>, Steinhauser, 2021], [Gerlach, </a:t>
                </a:r>
                <a:r>
                  <a:rPr lang="en-US" sz="1100" b="1" dirty="0" err="1">
                    <a:solidFill>
                      <a:schemeClr val="accent3"/>
                    </a:solidFill>
                  </a:rPr>
                  <a:t>Nierste</a:t>
                </a:r>
                <a:r>
                  <a:rPr lang="en-US" sz="1100" b="1" dirty="0">
                    <a:solidFill>
                      <a:schemeClr val="accent3"/>
                    </a:solidFill>
                  </a:rPr>
                  <a:t>, </a:t>
                </a:r>
                <a:r>
                  <a:rPr lang="en-US" sz="1100" b="1" dirty="0" err="1">
                    <a:solidFill>
                      <a:schemeClr val="accent3"/>
                    </a:solidFill>
                  </a:rPr>
                  <a:t>Shtabovenko</a:t>
                </a:r>
                <a:r>
                  <a:rPr lang="en-US" sz="1100" b="1" dirty="0">
                    <a:solidFill>
                      <a:schemeClr val="accent3"/>
                    </a:solidFill>
                  </a:rPr>
                  <a:t>, Steinhauser 2022] </a:t>
                </a:r>
              </a:p>
              <a:p>
                <a:pPr marL="0" lvl="1" indent="0">
                  <a:buNone/>
                </a:pPr>
                <a:endParaRPr lang="en-US" sz="1100" b="1" dirty="0">
                  <a:solidFill>
                    <a:schemeClr val="accent3"/>
                  </a:solidFill>
                </a:endParaRPr>
              </a:p>
              <a:p>
                <a:pPr marL="0" lvl="1" indent="0">
                  <a:buNone/>
                </a:pPr>
                <a:endParaRPr lang="en-US" sz="1100" b="1" dirty="0">
                  <a:solidFill>
                    <a:schemeClr val="accent3"/>
                  </a:solidFill>
                </a:endParaRPr>
              </a:p>
              <a:p>
                <a:pPr marL="0" lvl="1" indent="0">
                  <a:buNone/>
                </a:pPr>
                <a:endParaRPr lang="en-US" sz="1100" b="1" dirty="0">
                  <a:solidFill>
                    <a:schemeClr val="accent3"/>
                  </a:solidFill>
                </a:endParaRPr>
              </a:p>
              <a:p>
                <a:pPr marL="0" lvl="1" indent="0">
                  <a:buNone/>
                </a:pPr>
                <a:endParaRPr lang="en-US" sz="1100" b="1" dirty="0">
                  <a:solidFill>
                    <a:schemeClr val="accent3"/>
                  </a:solidFill>
                </a:endParaRPr>
              </a:p>
            </p:txBody>
          </p:sp>
        </mc:Choice>
        <mc:Fallback xmlns="">
          <p:sp>
            <p:nvSpPr>
              <p:cNvPr id="3" name="Textplatzhalter 2">
                <a:extLst>
                  <a:ext uri="{FF2B5EF4-FFF2-40B4-BE49-F238E27FC236}">
                    <a16:creationId xmlns:a16="http://schemas.microsoft.com/office/drawing/2014/main" id="{EFCFF49B-6F85-B0B1-B9B6-23EC01533FA5}"/>
                  </a:ext>
                </a:extLst>
              </p:cNvPr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type="body" sz="quarter" idx="13"/>
              </p:nvPr>
            </p:nvSpPr>
            <p:spPr>
              <a:xfrm>
                <a:off x="371474" y="1592263"/>
                <a:ext cx="5616575" cy="4684711"/>
              </a:xfrm>
              <a:blipFill>
                <a:blip r:embed="rId18"/>
                <a:stretch>
                  <a:fillRect l="-2935" t="-2432" r="-2032"/>
                </a:stretch>
              </a:blipFill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C7D8F8FC-5A60-5961-0272-8571A6DB4CDB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de-DE" dirty="0"/>
              <a:t>08/07/2025</a:t>
            </a:r>
            <a:endParaRPr lang="en-US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A2A70188-A229-0895-83CC-CDDAB98371C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dirty="0"/>
              <a:t>Pascal Reeck – B meson mixing at NNLO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3F4CEA67-1797-4E52-A6C9-945BDF79D78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76FC98F-84AD-404B-BCCB-49E092AA6DE0}" type="slidenum">
              <a:rPr lang="en-US" smtClean="0"/>
              <a:pPr/>
              <a:t>5</a:t>
            </a:fld>
            <a:endParaRPr lang="en-US" dirty="0"/>
          </a:p>
        </p:txBody>
      </p:sp>
      <p:sp>
        <p:nvSpPr>
          <p:cNvPr id="21" name="Rechteck 12">
            <a:extLst>
              <a:ext uri="{FF2B5EF4-FFF2-40B4-BE49-F238E27FC236}">
                <a16:creationId xmlns:a16="http://schemas.microsoft.com/office/drawing/2014/main" id="{5A89314E-DFD1-77CC-8821-1245106C56FD}"/>
              </a:ext>
            </a:extLst>
          </p:cNvPr>
          <p:cNvSpPr>
            <a:spLocks/>
          </p:cNvSpPr>
          <p:nvPr/>
        </p:nvSpPr>
        <p:spPr bwMode="gray">
          <a:xfrm>
            <a:off x="371474" y="5673473"/>
            <a:ext cx="5616575" cy="600327"/>
          </a:xfrm>
          <a:prstGeom prst="rect">
            <a:avLst/>
          </a:prstGeom>
          <a:solidFill>
            <a:schemeClr val="tx1"/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44000" tIns="144000" rIns="144000" bIns="144000" rtlCol="0" anchor="ctr"/>
          <a:lstStyle/>
          <a:p>
            <a:pPr algn="ctr"/>
            <a:r>
              <a:rPr lang="en-US" sz="1600" b="1" dirty="0">
                <a:solidFill>
                  <a:schemeClr val="bg1"/>
                </a:solidFill>
              </a:rPr>
              <a:t>NNLO QCD diagrams need to be computed to improve the precision of our prediction.</a:t>
            </a:r>
          </a:p>
        </p:txBody>
      </p:sp>
      <p:cxnSp>
        <p:nvCxnSpPr>
          <p:cNvPr id="402" name="Straight Connector 401">
            <a:extLst>
              <a:ext uri="{FF2B5EF4-FFF2-40B4-BE49-F238E27FC236}">
                <a16:creationId xmlns:a16="http://schemas.microsoft.com/office/drawing/2014/main" id="{8A600F7D-9759-D2A4-E758-44518A987858}"/>
              </a:ext>
            </a:extLst>
          </p:cNvPr>
          <p:cNvCxnSpPr/>
          <p:nvPr>
            <p:custDataLst>
              <p:tags r:id="rId2"/>
            </p:custDataLst>
          </p:nvPr>
        </p:nvCxnSpPr>
        <p:spPr bwMode="auto">
          <a:xfrm>
            <a:off x="10102850" y="5497513"/>
            <a:ext cx="623888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D9643F0E-0B1A-8888-728F-E4A5F13FB361}"/>
              </a:ext>
            </a:extLst>
          </p:cNvPr>
          <p:cNvCxnSpPr/>
          <p:nvPr>
            <p:custDataLst>
              <p:tags r:id="rId3"/>
            </p:custDataLst>
          </p:nvPr>
        </p:nvCxnSpPr>
        <p:spPr bwMode="auto">
          <a:xfrm>
            <a:off x="8697913" y="3433763"/>
            <a:ext cx="623888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C4FB5D82-D12D-72FE-5CB5-E9063858CD39}"/>
              </a:ext>
            </a:extLst>
          </p:cNvPr>
          <p:cNvCxnSpPr/>
          <p:nvPr>
            <p:custDataLst>
              <p:tags r:id="rId4"/>
            </p:custDataLst>
          </p:nvPr>
        </p:nvCxnSpPr>
        <p:spPr bwMode="auto">
          <a:xfrm>
            <a:off x="7292975" y="1592263"/>
            <a:ext cx="623888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aphicFrame>
        <p:nvGraphicFramePr>
          <p:cNvPr id="17" name="Chart 16">
            <a:extLst>
              <a:ext uri="{FF2B5EF4-FFF2-40B4-BE49-F238E27FC236}">
                <a16:creationId xmlns:a16="http://schemas.microsoft.com/office/drawing/2014/main" id="{76CC0155-C113-FF08-AFA8-0C0CAA3F3444}"/>
              </a:ext>
            </a:extLst>
          </p:cNvPr>
          <p:cNvGraphicFramePr/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2063467302"/>
              </p:ext>
            </p:extLst>
          </p:nvPr>
        </p:nvGraphicFramePr>
        <p:xfrm>
          <a:off x="6118225" y="1509713"/>
          <a:ext cx="5784850" cy="41243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9"/>
          </a:graphicData>
        </a:graphic>
      </p:graphicFrame>
      <p:sp>
        <p:nvSpPr>
          <p:cNvPr id="384" name="Textplatzhalter 2">
            <a:extLst>
              <a:ext uri="{FF2B5EF4-FFF2-40B4-BE49-F238E27FC236}">
                <a16:creationId xmlns:a16="http://schemas.microsoft.com/office/drawing/2014/main" id="{B44A5F82-B578-7EAA-2FD0-5680DA08F028}"/>
              </a:ext>
            </a:extLst>
          </p:cNvPr>
          <p:cNvSpPr txBox="1">
            <a:spLocks/>
          </p:cNvSpPr>
          <p:nvPr>
            <p:custDataLst>
              <p:tags r:id="rId6"/>
            </p:custDataLst>
          </p:nvPr>
        </p:nvSpPr>
        <p:spPr bwMode="gray">
          <a:xfrm>
            <a:off x="9509125" y="4359275"/>
            <a:ext cx="4064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3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70000" indent="-27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+mj-lt"/>
              <a:buAutoNum type="arabicPeriod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Font typeface="+mj-lt"/>
              <a:buAutoNum type="alphaLcPeriod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85000"/>
              </a:lnSpc>
              <a:spcBef>
                <a:spcPts val="120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b="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F6B4A3AA-EBBC-4766-8B37-519AFF2154DD}" type="datetime'''5''''''''''2''''''''''''''%'''''''''">
              <a:rPr lang="en-GB" altLang="en-US" sz="1400" smtClean="0"/>
              <a:pPr/>
              <a:t>52%</a:t>
            </a:fld>
            <a:endParaRPr lang="en-GB" sz="1400" dirty="0"/>
          </a:p>
        </p:txBody>
      </p:sp>
      <p:sp>
        <p:nvSpPr>
          <p:cNvPr id="369" name="Textplatzhalter 2">
            <a:extLst>
              <a:ext uri="{FF2B5EF4-FFF2-40B4-BE49-F238E27FC236}">
                <a16:creationId xmlns:a16="http://schemas.microsoft.com/office/drawing/2014/main" id="{014891F2-38C0-5C4D-85BA-28B2E0802480}"/>
              </a:ext>
            </a:extLst>
          </p:cNvPr>
          <p:cNvSpPr txBox="1">
            <a:spLocks/>
          </p:cNvSpPr>
          <p:nvPr>
            <p:custDataLst>
              <p:tags r:id="rId7"/>
            </p:custDataLst>
          </p:nvPr>
        </p:nvSpPr>
        <p:spPr bwMode="auto">
          <a:xfrm>
            <a:off x="9080500" y="5610225"/>
            <a:ext cx="1263650" cy="4254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70000" indent="-27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+mj-lt"/>
              <a:buAutoNum type="arabicPeriod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Font typeface="+mj-lt"/>
              <a:buAutoNum type="alphaLcPeriod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85000"/>
              </a:lnSpc>
              <a:spcBef>
                <a:spcPts val="120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b="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DE750CA8-4027-40DA-A5B1-0227B6714E0A}" type="datetime'''''''Sub''''-le''''''adin''g ''ma''trix ''''ele''men''''t''s'">
              <a:rPr lang="en-GB" altLang="en-US" sz="1400" smtClean="0"/>
              <a:pPr/>
              <a:t>Sub-leading matrix elements</a:t>
            </a:fld>
            <a:endParaRPr lang="en-GB" sz="1400" dirty="0"/>
          </a:p>
        </p:txBody>
      </p:sp>
      <p:sp>
        <p:nvSpPr>
          <p:cNvPr id="249" name="Textplatzhalter 2">
            <a:extLst>
              <a:ext uri="{FF2B5EF4-FFF2-40B4-BE49-F238E27FC236}">
                <a16:creationId xmlns:a16="http://schemas.microsoft.com/office/drawing/2014/main" id="{CB609A04-DA3B-1D5F-8F94-09AB800CAB85}"/>
              </a:ext>
            </a:extLst>
          </p:cNvPr>
          <p:cNvSpPr txBox="1">
            <a:spLocks/>
          </p:cNvSpPr>
          <p:nvPr>
            <p:custDataLst>
              <p:tags r:id="rId8"/>
            </p:custDataLst>
          </p:nvPr>
        </p:nvSpPr>
        <p:spPr bwMode="gray">
          <a:xfrm>
            <a:off x="6650038" y="3465513"/>
            <a:ext cx="50482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70000" indent="-27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+mj-lt"/>
              <a:buAutoNum type="arabicPeriod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Font typeface="+mj-lt"/>
              <a:buAutoNum type="alphaLcPeriod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85000"/>
              </a:lnSpc>
              <a:spcBef>
                <a:spcPts val="120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b="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092AC361-B7B2-4AC3-9DDA-784AD846DDD4}" type="datetime'''''''''''10''''''0''''''%'''''''''''''''''''''">
              <a:rPr lang="en-GB" altLang="en-US" sz="1400" smtClean="0">
                <a:solidFill>
                  <a:schemeClr val="bg1"/>
                </a:solidFill>
              </a:rPr>
              <a:pPr/>
              <a:t>100%</a:t>
            </a:fld>
            <a:endParaRPr lang="en-GB" sz="1400" dirty="0">
              <a:solidFill>
                <a:schemeClr val="bg1"/>
              </a:solidFill>
            </a:endParaRPr>
          </a:p>
        </p:txBody>
      </p:sp>
      <p:sp>
        <p:nvSpPr>
          <p:cNvPr id="24" name="Textplatzhalter 2">
            <a:extLst>
              <a:ext uri="{FF2B5EF4-FFF2-40B4-BE49-F238E27FC236}">
                <a16:creationId xmlns:a16="http://schemas.microsoft.com/office/drawing/2014/main" id="{14278BE6-9994-00CF-D3B0-E88C10ECD388}"/>
              </a:ext>
            </a:extLst>
          </p:cNvPr>
          <p:cNvSpPr txBox="1">
            <a:spLocks/>
          </p:cNvSpPr>
          <p:nvPr>
            <p:custDataLst>
              <p:tags r:id="rId9"/>
            </p:custDataLst>
          </p:nvPr>
        </p:nvSpPr>
        <p:spPr bwMode="auto">
          <a:xfrm>
            <a:off x="7823200" y="5610225"/>
            <a:ext cx="96837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70000" indent="-27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+mj-lt"/>
              <a:buAutoNum type="arabicPeriod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Font typeface="+mj-lt"/>
              <a:buAutoNum type="alphaLcPeriod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85000"/>
              </a:lnSpc>
              <a:spcBef>
                <a:spcPts val="120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b="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2B1AD768-F5D5-402A-BDE2-95509A6D4900}" type="datetime'P''e''''''r''t''''''''''''''u''''r''''b''a''tiv''''e'">
              <a:rPr lang="en-GB" altLang="en-US" sz="1400" smtClean="0"/>
              <a:pPr/>
              <a:t>Perturbative</a:t>
            </a:fld>
            <a:endParaRPr lang="en-GB" sz="1400" dirty="0"/>
          </a:p>
        </p:txBody>
      </p:sp>
      <p:sp>
        <p:nvSpPr>
          <p:cNvPr id="172" name="Textplatzhalter 2">
            <a:extLst>
              <a:ext uri="{FF2B5EF4-FFF2-40B4-BE49-F238E27FC236}">
                <a16:creationId xmlns:a16="http://schemas.microsoft.com/office/drawing/2014/main" id="{3FD2CB33-2AD7-C564-4600-F851413E197B}"/>
              </a:ext>
            </a:extLst>
          </p:cNvPr>
          <p:cNvSpPr txBox="1">
            <a:spLocks/>
          </p:cNvSpPr>
          <p:nvPr>
            <p:custDataLst>
              <p:tags r:id="rId10"/>
            </p:custDataLst>
          </p:nvPr>
        </p:nvSpPr>
        <p:spPr bwMode="gray">
          <a:xfrm>
            <a:off x="8104188" y="2406650"/>
            <a:ext cx="4064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3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70000" indent="-27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+mj-lt"/>
              <a:buAutoNum type="arabicPeriod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Font typeface="+mj-lt"/>
              <a:buAutoNum type="alphaLcPeriod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85000"/>
              </a:lnSpc>
              <a:spcBef>
                <a:spcPts val="120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b="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507B31A5-30A7-4EA9-A4CB-365F0541BACC}" type="datetime'''4''''''''''''''''''''7%'''''''''''">
              <a:rPr lang="en-GB" altLang="en-US" sz="1400" smtClean="0">
                <a:solidFill>
                  <a:schemeClr val="bg1"/>
                </a:solidFill>
              </a:rPr>
              <a:pPr/>
              <a:t>47%</a:t>
            </a:fld>
            <a:endParaRPr lang="en-GB" sz="1400" dirty="0">
              <a:solidFill>
                <a:schemeClr val="bg1"/>
              </a:solidFill>
            </a:endParaRPr>
          </a:p>
        </p:txBody>
      </p:sp>
      <p:sp>
        <p:nvSpPr>
          <p:cNvPr id="22" name="Textplatzhalter 2">
            <a:extLst>
              <a:ext uri="{FF2B5EF4-FFF2-40B4-BE49-F238E27FC236}">
                <a16:creationId xmlns:a16="http://schemas.microsoft.com/office/drawing/2014/main" id="{E9F7F8AA-072F-2B5C-8493-F464E457A183}"/>
              </a:ext>
            </a:extLst>
          </p:cNvPr>
          <p:cNvSpPr txBox="1">
            <a:spLocks/>
          </p:cNvSpPr>
          <p:nvPr>
            <p:custDataLst>
              <p:tags r:id="rId11"/>
            </p:custDataLst>
          </p:nvPr>
        </p:nvSpPr>
        <p:spPr bwMode="auto">
          <a:xfrm>
            <a:off x="6364288" y="5610225"/>
            <a:ext cx="1076325" cy="638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70000" indent="-27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+mj-lt"/>
              <a:buAutoNum type="arabicPeriod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Font typeface="+mj-lt"/>
              <a:buAutoNum type="alphaLcPeriod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85000"/>
              </a:lnSpc>
              <a:spcBef>
                <a:spcPts val="120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b="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DF70B779-F070-42FA-A0BB-0C3F3CEDBFD8}" type="datetime'T''otal'' ''sq''u''ared unc''''er''tai''nty ''''''''(''NLO'')'">
              <a:rPr lang="en-GB" altLang="en-US" sz="1400" smtClean="0"/>
              <a:pPr/>
              <a:t>Total squared uncertainty (NLO)</a:t>
            </a:fld>
            <a:endParaRPr lang="en-GB" sz="1400" dirty="0"/>
          </a:p>
        </p:txBody>
      </p:sp>
      <p:sp>
        <p:nvSpPr>
          <p:cNvPr id="377" name="Textplatzhalter 2">
            <a:extLst>
              <a:ext uri="{FF2B5EF4-FFF2-40B4-BE49-F238E27FC236}">
                <a16:creationId xmlns:a16="http://schemas.microsoft.com/office/drawing/2014/main" id="{5C8009AD-14F6-B2E7-2EF9-690D47299C58}"/>
              </a:ext>
            </a:extLst>
          </p:cNvPr>
          <p:cNvSpPr txBox="1">
            <a:spLocks/>
          </p:cNvSpPr>
          <p:nvPr>
            <p:custDataLst>
              <p:tags r:id="rId12"/>
            </p:custDataLst>
          </p:nvPr>
        </p:nvSpPr>
        <p:spPr bwMode="gray">
          <a:xfrm>
            <a:off x="10963275" y="5259388"/>
            <a:ext cx="30797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70000" indent="-27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+mj-lt"/>
              <a:buAutoNum type="arabicPeriod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Font typeface="+mj-lt"/>
              <a:buAutoNum type="alphaLcPeriod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85000"/>
              </a:lnSpc>
              <a:spcBef>
                <a:spcPts val="120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b="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AFCBD62E-64F9-4672-B4E1-2DE9ECF5DD5B}" type="datetime'''''1''''''''''''''''''''''''''''''''''''''''''''''''%'''''">
              <a:rPr lang="en-GB" altLang="en-US" sz="1400" smtClean="0"/>
              <a:pPr/>
              <a:t>1%</a:t>
            </a:fld>
            <a:endParaRPr lang="en-GB" sz="1400" dirty="0"/>
          </a:p>
        </p:txBody>
      </p:sp>
      <p:sp>
        <p:nvSpPr>
          <p:cNvPr id="375" name="Textplatzhalter 2">
            <a:extLst>
              <a:ext uri="{FF2B5EF4-FFF2-40B4-BE49-F238E27FC236}">
                <a16:creationId xmlns:a16="http://schemas.microsoft.com/office/drawing/2014/main" id="{86B097AE-939B-67DA-EDA6-0DB1BF772605}"/>
              </a:ext>
            </a:extLst>
          </p:cNvPr>
          <p:cNvSpPr txBox="1">
            <a:spLocks/>
          </p:cNvSpPr>
          <p:nvPr>
            <p:custDataLst>
              <p:tags r:id="rId13"/>
            </p:custDataLst>
          </p:nvPr>
        </p:nvSpPr>
        <p:spPr bwMode="auto">
          <a:xfrm>
            <a:off x="10471150" y="5610225"/>
            <a:ext cx="129381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70000" indent="-27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+mj-lt"/>
              <a:buAutoNum type="arabicPeriod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Font typeface="+mj-lt"/>
              <a:buAutoNum type="alphaLcPeriod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85000"/>
              </a:lnSpc>
              <a:spcBef>
                <a:spcPts val="120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b="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01B2CC27-F947-43F5-8DC8-992E7DECD2BB}" type="datetime'''''''''''R''''''''em''a''i''n''''ing i''np''''''''''''''ut'">
              <a:rPr lang="en-GB" altLang="en-US" sz="1400" smtClean="0"/>
              <a:pPr/>
              <a:t>Remaining input</a:t>
            </a:fld>
            <a:endParaRPr lang="en-GB" sz="1400" dirty="0"/>
          </a:p>
        </p:txBody>
      </p:sp>
    </p:spTree>
    <p:extLst>
      <p:ext uri="{BB962C8B-B14F-4D97-AF65-F5344CB8AC3E}">
        <p14:creationId xmlns:p14="http://schemas.microsoft.com/office/powerpoint/2010/main" val="4278864257"/>
      </p:ext>
    </p:extLst>
  </p:cSld>
  <p:clrMapOvr>
    <a:masterClrMapping/>
  </p:clrMapOvr>
  <p:transition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23518294-6D81-D676-2300-9AE5929847C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33664257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060C6A58-BC8A-C212-7CBA-AACFAE00E25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/>
              <a:t>Technicalitie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60C99C8-DA09-D9A0-69A7-B2EECCF1D5A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dirty="0"/>
              <a:t>Matching procedure</a:t>
            </a:r>
          </a:p>
          <a:p>
            <a:r>
              <a:rPr lang="en-GB" dirty="0"/>
              <a:t>Evanescent operators</a:t>
            </a:r>
          </a:p>
          <a:p>
            <a:r>
              <a:rPr lang="en-GB" dirty="0" err="1"/>
              <a:t>Fierz</a:t>
            </a:r>
            <a:r>
              <a:rPr lang="en-GB" dirty="0"/>
              <a:t> symmetry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A5786CD-72D4-2D41-E76D-810945E20D9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>
            <a:normAutofit fontScale="25000" lnSpcReduction="20000"/>
          </a:bodyPr>
          <a:lstStyle/>
          <a:p>
            <a:fld id="{712354FD-0474-4525-BD33-C643DFB57DBF}" type="datetime3">
              <a:rPr lang="de-DE" smtClean="0"/>
              <a:t>01/07/2025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319990B-4E9C-2EB9-909A-460FFF88201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>
            <a:normAutofit fontScale="25000" lnSpcReduction="20000"/>
          </a:bodyPr>
          <a:lstStyle/>
          <a:p>
            <a:r>
              <a:rPr lang="en-US"/>
              <a:t>Name - Title of Presentation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213BC8C-1808-0A10-779E-933406C4731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>
            <a:normAutofit fontScale="25000" lnSpcReduction="20000"/>
          </a:bodyPr>
          <a:lstStyle/>
          <a:p>
            <a:fld id="{776FC98F-84AD-404B-BCCB-49E092AA6DE0}" type="slidenum">
              <a:rPr lang="en-US" smtClean="0"/>
              <a:pPr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60175454"/>
      </p:ext>
    </p:extLst>
  </p:cSld>
  <p:clrMapOvr>
    <a:masterClrMapping/>
  </p:clrMapOvr>
  <p:transition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FC32B90-D16D-372A-88CC-2150CAFFDA4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A863B3FC-B453-5E17-3186-5BB11947CA1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95956226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3C8C118-C99F-B20C-9552-39791DD94DA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mc:AlternateContent xmlns:mc="http://schemas.openxmlformats.org/markup-compatibility/2006" xmlns:a14="http://schemas.microsoft.com/office/drawing/2010/main">
        <mc:Choice Requires="a14">
          <p:sp>
            <p:nvSpPr>
              <p:cNvPr id="10" name="Textplatzhalter 9">
                <a:extLst>
                  <a:ext uri="{FF2B5EF4-FFF2-40B4-BE49-F238E27FC236}">
                    <a16:creationId xmlns:a16="http://schemas.microsoft.com/office/drawing/2014/main" id="{0090C608-996E-F4D3-9573-57D6E0FF8368}"/>
                  </a:ext>
                </a:extLst>
              </p:cNvPr>
              <p:cNvSpPr>
                <a:spLocks noGrp="1"/>
              </p:cNvSpPr>
              <p:nvPr>
                <p:ph type="body" sz="quarter" idx="13"/>
              </p:nvPr>
            </p:nvSpPr>
            <p:spPr>
              <a:xfrm>
                <a:off x="371475" y="4798747"/>
                <a:ext cx="5616575" cy="1478227"/>
              </a:xfrm>
            </p:spPr>
            <p:txBody>
              <a:bodyPr/>
              <a:lstStyle/>
              <a:p>
                <a:pPr marL="0" lvl="1" indent="0">
                  <a:buNone/>
                </a:pPr>
                <a:r>
                  <a:rPr lang="en-GB" sz="1800" b="1" noProof="0" dirty="0">
                    <a:solidFill>
                      <a:schemeClr val="accent1"/>
                    </a:solidFill>
                  </a:rPr>
                  <a:t>QCD corrections in the effective </a:t>
                </a:r>
                <a14:m>
                  <m:oMath xmlns:m="http://schemas.openxmlformats.org/officeDocument/2006/math">
                    <m:r>
                      <a:rPr lang="en-GB" sz="1800" b="1" i="0" noProof="0" smtClean="0">
                        <a:solidFill>
                          <a:schemeClr val="accent1"/>
                        </a:solidFill>
                        <a:latin typeface="Cambria Math" panose="02040503050406030204" pitchFamily="18" charset="0"/>
                      </a:rPr>
                      <m:t>𝚫</m:t>
                    </m:r>
                    <m:r>
                      <a:rPr lang="en-GB" sz="1800" b="1" i="1" noProof="0" smtClean="0">
                        <a:solidFill>
                          <a:schemeClr val="accent1"/>
                        </a:solidFill>
                        <a:latin typeface="Cambria Math" panose="02040503050406030204" pitchFamily="18" charset="0"/>
                      </a:rPr>
                      <m:t>𝑩</m:t>
                    </m:r>
                    <m:r>
                      <a:rPr lang="en-GB" sz="1800" b="1" i="1" noProof="0" smtClean="0">
                        <a:solidFill>
                          <a:schemeClr val="accent1"/>
                        </a:solidFill>
                        <a:latin typeface="Cambria Math" panose="02040503050406030204" pitchFamily="18" charset="0"/>
                      </a:rPr>
                      <m:t>=</m:t>
                    </m:r>
                    <m:r>
                      <a:rPr lang="en-GB" sz="1800" b="1" i="1" noProof="0" smtClean="0">
                        <a:solidFill>
                          <a:schemeClr val="accent1"/>
                        </a:solidFill>
                        <a:latin typeface="Cambria Math" panose="02040503050406030204" pitchFamily="18" charset="0"/>
                      </a:rPr>
                      <m:t>𝟏</m:t>
                    </m:r>
                  </m:oMath>
                </a14:m>
                <a:r>
                  <a:rPr lang="en-GB" sz="1800" b="1" noProof="0" dirty="0">
                    <a:solidFill>
                      <a:schemeClr val="accent1"/>
                    </a:solidFill>
                  </a:rPr>
                  <a:t> theory</a:t>
                </a:r>
              </a:p>
              <a:p>
                <a:pPr marL="270000" marR="0" lvl="1" indent="-270000" algn="l" defTabSz="914400" rtl="0" eaLnBrk="1" fontAlgn="auto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300"/>
                  </a:spcAft>
                  <a:buClr>
                    <a:srgbClr val="009682"/>
                  </a:buClr>
                  <a:buSzTx/>
                  <a:buFont typeface="Wingdings" panose="05000000000000000000" pitchFamily="2" charset="2"/>
                  <a:buChar char="§"/>
                  <a:tabLst/>
                  <a:defRPr/>
                </a:pPr>
                <a:r>
                  <a:rPr lang="en-US" dirty="0">
                    <a:solidFill>
                      <a:srgbClr val="002D4C"/>
                    </a:solidFill>
                    <a:latin typeface="Arial"/>
                  </a:rPr>
                  <a:t>W boson and top quark integrated out</a:t>
                </a:r>
              </a:p>
              <a:p>
                <a:pPr lvl="1">
                  <a:buClr>
                    <a:srgbClr val="009682"/>
                  </a:buClr>
                  <a:defRPr/>
                </a:pPr>
                <a:r>
                  <a:rPr lang="en-US" dirty="0">
                    <a:solidFill>
                      <a:srgbClr val="002D4C"/>
                    </a:solidFill>
                    <a:latin typeface="Arial"/>
                  </a:rPr>
                  <a:t>Three-loop calculation involving two masses,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b="0" i="1" smtClean="0">
                            <a:solidFill>
                              <a:srgbClr val="002D4C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b="0" i="1" smtClean="0">
                            <a:solidFill>
                              <a:srgbClr val="002D4C"/>
                            </a:solidFill>
                            <a:latin typeface="Cambria Math" panose="02040503050406030204" pitchFamily="18" charset="0"/>
                          </a:rPr>
                          <m:t>𝑚</m:t>
                        </m:r>
                      </m:e>
                      <m:sub>
                        <m:r>
                          <a:rPr lang="en-US" b="0" i="1" smtClean="0">
                            <a:solidFill>
                              <a:srgbClr val="002D4C"/>
                            </a:solidFill>
                            <a:latin typeface="Cambria Math" panose="02040503050406030204" pitchFamily="18" charset="0"/>
                          </a:rPr>
                          <m:t>𝑐</m:t>
                        </m:r>
                      </m:sub>
                    </m:sSub>
                  </m:oMath>
                </a14:m>
                <a:r>
                  <a:rPr lang="en-GB" b="1" noProof="0" dirty="0"/>
                  <a:t> </a:t>
                </a:r>
                <a:r>
                  <a:rPr lang="en-GB" noProof="0" dirty="0"/>
                  <a:t>and</a:t>
                </a:r>
                <a:r>
                  <a:rPr lang="en-US" dirty="0">
                    <a:solidFill>
                      <a:srgbClr val="002D4C"/>
                    </a:solidFill>
                  </a:rPr>
                  <a:t>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i="1">
                            <a:solidFill>
                              <a:srgbClr val="002D4C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i="1">
                            <a:solidFill>
                              <a:srgbClr val="002D4C"/>
                            </a:solidFill>
                            <a:latin typeface="Cambria Math" panose="02040503050406030204" pitchFamily="18" charset="0"/>
                          </a:rPr>
                          <m:t>𝑚</m:t>
                        </m:r>
                      </m:e>
                      <m:sub>
                        <m:r>
                          <a:rPr lang="en-US" b="0" i="1" smtClean="0">
                            <a:solidFill>
                              <a:srgbClr val="002D4C"/>
                            </a:solidFill>
                            <a:latin typeface="Cambria Math" panose="02040503050406030204" pitchFamily="18" charset="0"/>
                          </a:rPr>
                          <m:t>𝑏</m:t>
                        </m:r>
                      </m:sub>
                    </m:sSub>
                  </m:oMath>
                </a14:m>
                <a:endParaRPr lang="en-GB" noProof="0" dirty="0"/>
              </a:p>
              <a:p>
                <a:pPr lvl="1">
                  <a:buClr>
                    <a:srgbClr val="009682"/>
                  </a:buClr>
                  <a:defRPr/>
                </a:pPr>
                <a:r>
                  <a:rPr lang="en-GB" dirty="0"/>
                  <a:t>Operators in three categories: current-current (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𝑃</m:t>
                        </m:r>
                      </m:e>
                      <m:sub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1,2</m:t>
                        </m:r>
                      </m:sub>
                    </m:sSub>
                    <m:r>
                      <a:rPr lang="en-US" b="0" i="1" smtClean="0">
                        <a:latin typeface="Cambria Math" panose="02040503050406030204" pitchFamily="18" charset="0"/>
                      </a:rPr>
                      <m:t>),</m:t>
                    </m:r>
                  </m:oMath>
                </a14:m>
                <a:r>
                  <a:rPr lang="en-GB" noProof="0" dirty="0"/>
                  <a:t> penguin </a:t>
                </a:r>
                <a:r>
                  <a:rPr lang="en-GB" dirty="0"/>
                  <a:t>(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i="1">
                            <a:latin typeface="Cambria Math" panose="02040503050406030204" pitchFamily="18" charset="0"/>
                          </a:rPr>
                          <m:t>𝑃</m:t>
                        </m:r>
                      </m:e>
                      <m:sub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3−6</m:t>
                        </m:r>
                      </m:sub>
                    </m:sSub>
                    <m:r>
                      <a:rPr lang="en-US" i="1">
                        <a:latin typeface="Cambria Math" panose="02040503050406030204" pitchFamily="18" charset="0"/>
                      </a:rPr>
                      <m:t>)</m:t>
                    </m:r>
                  </m:oMath>
                </a14:m>
                <a:r>
                  <a:rPr lang="en-GB" dirty="0"/>
                  <a:t> and </a:t>
                </a:r>
                <a:r>
                  <a:rPr lang="en-GB" dirty="0" err="1"/>
                  <a:t>chromomagnetic</a:t>
                </a:r>
                <a:r>
                  <a:rPr lang="en-GB" dirty="0"/>
                  <a:t> (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i="1">
                            <a:latin typeface="Cambria Math" panose="02040503050406030204" pitchFamily="18" charset="0"/>
                          </a:rPr>
                          <m:t>𝑃</m:t>
                        </m:r>
                      </m:e>
                      <m:sub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8</m:t>
                        </m:r>
                      </m:sub>
                    </m:sSub>
                  </m:oMath>
                </a14:m>
                <a:r>
                  <a:rPr lang="en-GB" dirty="0"/>
                  <a:t>)</a:t>
                </a:r>
              </a:p>
            </p:txBody>
          </p:sp>
        </mc:Choice>
        <mc:Fallback xmlns="">
          <p:sp>
            <p:nvSpPr>
              <p:cNvPr id="10" name="Textplatzhalter 9">
                <a:extLst>
                  <a:ext uri="{FF2B5EF4-FFF2-40B4-BE49-F238E27FC236}">
                    <a16:creationId xmlns:a16="http://schemas.microsoft.com/office/drawing/2014/main" id="{0090C608-996E-F4D3-9573-57D6E0FF8368}"/>
                  </a:ext>
                </a:extLst>
              </p:cNvPr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type="body" sz="quarter" idx="13"/>
              </p:nvPr>
            </p:nvSpPr>
            <p:spPr>
              <a:xfrm>
                <a:off x="371475" y="4798747"/>
                <a:ext cx="5616575" cy="1478227"/>
              </a:xfrm>
              <a:blipFill>
                <a:blip r:embed="rId7"/>
                <a:stretch>
                  <a:fillRect l="-2483" t="-4237" b="-9322"/>
                </a:stretch>
              </a:blipFill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9" name="Titel 8">
            <a:extLst>
              <a:ext uri="{FF2B5EF4-FFF2-40B4-BE49-F238E27FC236}">
                <a16:creationId xmlns:a16="http://schemas.microsoft.com/office/drawing/2014/main" id="{6C2B3145-0F8B-F5D6-09A0-C34D5F74E2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t"/>
          <a:lstStyle/>
          <a:p>
            <a:r>
              <a:rPr lang="en-GB" noProof="0" dirty="0"/>
              <a:t>We can complete the calculation of </a:t>
            </a:r>
            <a:r>
              <a:rPr lang="en-GB" sz="1050" noProof="0" dirty="0"/>
              <a:t>                </a:t>
            </a:r>
            <a:r>
              <a:rPr lang="en-GB" noProof="0" dirty="0"/>
              <a:t>  by matching two different QCD amplitudes.</a:t>
            </a:r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5AA1ABDD-234F-DE37-4DCC-FBB6E480AD8A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US" dirty="0"/>
              <a:t>Pascal Reeck – B meson mixing at NNLO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79AC1509-6DF6-E9DA-5A82-3EE8E7AF9716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776FC98F-84AD-404B-BCCB-49E092AA6DE0}" type="slidenum">
              <a:rPr lang="en-US" smtClean="0"/>
              <a:pPr/>
              <a:t>7</a:t>
            </a:fld>
            <a:endParaRPr lang="en-US" dirty="0"/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E5BE978D-36AF-1553-A7A2-2A67CF5DB9B2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r>
              <a:rPr lang="en-US" dirty="0"/>
              <a:t>08/07/2025</a:t>
            </a:r>
          </a:p>
        </p:txBody>
      </p:sp>
      <p:pic>
        <p:nvPicPr>
          <p:cNvPr id="31" name="Picture Placeholder 30" descr="A diagram of a circle with arrows and circles&#10;&#10;AI-generated content may be incorrect.">
            <a:extLst>
              <a:ext uri="{FF2B5EF4-FFF2-40B4-BE49-F238E27FC236}">
                <a16:creationId xmlns:a16="http://schemas.microsoft.com/office/drawing/2014/main" id="{AD2E9BAC-A9C9-5AF2-422B-5A243F22A3EA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 rotWithShape="1">
          <a:blip r:embed="rId8"/>
          <a:srcRect t="2081" b="-1"/>
          <a:stretch/>
        </p:blipFill>
        <p:spPr>
          <a:xfrm>
            <a:off x="371475" y="2349000"/>
            <a:ext cx="4284525" cy="2233846"/>
          </a:xfrm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3" name="Textplatzhalter 2">
                <a:extLst>
                  <a:ext uri="{FF2B5EF4-FFF2-40B4-BE49-F238E27FC236}">
                    <a16:creationId xmlns:a16="http://schemas.microsoft.com/office/drawing/2014/main" id="{E518CAB3-22EC-0404-CA7E-A26BBF9D3433}"/>
                  </a:ext>
                </a:extLst>
              </p:cNvPr>
              <p:cNvSpPr>
                <a:spLocks noGrp="1"/>
              </p:cNvSpPr>
              <p:nvPr>
                <p:ph type="body" sz="quarter" idx="17"/>
              </p:nvPr>
            </p:nvSpPr>
            <p:spPr>
              <a:xfrm>
                <a:off x="6203950" y="4798746"/>
                <a:ext cx="5616575" cy="1478228"/>
              </a:xfrm>
            </p:spPr>
            <p:txBody>
              <a:bodyPr/>
              <a:lstStyle/>
              <a:p>
                <a:r>
                  <a:rPr lang="en-US" sz="1800" b="1" dirty="0">
                    <a:solidFill>
                      <a:schemeClr val="accent1"/>
                    </a:solidFill>
                  </a:rPr>
                  <a:t>QCD corrections to the </a:t>
                </a:r>
                <a14:m>
                  <m:oMath xmlns:m="http://schemas.openxmlformats.org/officeDocument/2006/math">
                    <m:r>
                      <a:rPr lang="en-US" sz="1800" b="1" i="0" smtClean="0">
                        <a:solidFill>
                          <a:schemeClr val="accent1"/>
                        </a:solidFill>
                        <a:latin typeface="Cambria Math" panose="02040503050406030204" pitchFamily="18" charset="0"/>
                      </a:rPr>
                      <m:t>𝚫</m:t>
                    </m:r>
                    <m:r>
                      <a:rPr lang="en-US" sz="1800" b="1" i="0" smtClean="0">
                        <a:solidFill>
                          <a:schemeClr val="accent1"/>
                        </a:solidFill>
                        <a:latin typeface="Cambria Math" panose="02040503050406030204" pitchFamily="18" charset="0"/>
                      </a:rPr>
                      <m:t>𝐁</m:t>
                    </m:r>
                    <m:r>
                      <a:rPr lang="en-US" sz="1800" b="1" i="0" smtClean="0">
                        <a:solidFill>
                          <a:schemeClr val="accent1"/>
                        </a:solidFill>
                        <a:latin typeface="Cambria Math" panose="02040503050406030204" pitchFamily="18" charset="0"/>
                      </a:rPr>
                      <m:t>=</m:t>
                    </m:r>
                    <m:r>
                      <a:rPr lang="en-US" sz="1800" b="1" i="0" smtClean="0">
                        <a:solidFill>
                          <a:schemeClr val="accent1"/>
                        </a:solidFill>
                        <a:latin typeface="Cambria Math" panose="02040503050406030204" pitchFamily="18" charset="0"/>
                      </a:rPr>
                      <m:t>𝟐</m:t>
                    </m:r>
                  </m:oMath>
                </a14:m>
                <a:r>
                  <a:rPr lang="en-US" sz="1800" b="1" dirty="0"/>
                  <a:t> </a:t>
                </a:r>
                <a:r>
                  <a:rPr lang="en-US" sz="1800" b="1" dirty="0">
                    <a:solidFill>
                      <a:schemeClr val="accent1"/>
                    </a:solidFill>
                  </a:rPr>
                  <a:t>transition operator</a:t>
                </a:r>
              </a:p>
              <a:p>
                <a:pPr marL="270000" marR="0" lvl="1" indent="-270000" algn="l" defTabSz="914400" rtl="0" eaLnBrk="1" fontAlgn="auto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300"/>
                  </a:spcAft>
                  <a:buClr>
                    <a:srgbClr val="009682"/>
                  </a:buClr>
                  <a:buSzTx/>
                  <a:buFont typeface="Wingdings" panose="05000000000000000000" pitchFamily="2" charset="2"/>
                  <a:buChar char="§"/>
                  <a:tabLst/>
                  <a:defRPr/>
                </a:pPr>
                <a:r>
                  <a:rPr kumimoji="0" lang="en-US" sz="16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2D4C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Effective field theory following the heavy quark expansion</a:t>
                </a:r>
              </a:p>
              <a:p>
                <a:pPr marL="270000" marR="0" lvl="1" indent="-270000" algn="l" defTabSz="914400" rtl="0" eaLnBrk="1" fontAlgn="auto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300"/>
                  </a:spcAft>
                  <a:buClr>
                    <a:srgbClr val="009682"/>
                  </a:buClr>
                  <a:buSzTx/>
                  <a:buFont typeface="Wingdings" panose="05000000000000000000" pitchFamily="2" charset="2"/>
                  <a:buChar char="§"/>
                  <a:tabLst/>
                  <a:defRPr/>
                </a:pPr>
                <a:r>
                  <a:rPr lang="en-US" dirty="0">
                    <a:solidFill>
                      <a:srgbClr val="002D4C"/>
                    </a:solidFill>
                    <a:latin typeface="Arial"/>
                  </a:rPr>
                  <a:t>Clean separation of low-energy and high-energy physics</a:t>
                </a:r>
                <a:endPara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2D4C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  <a:p>
                <a:endParaRPr lang="en-US" sz="1800" b="1" dirty="0">
                  <a:solidFill>
                    <a:schemeClr val="accent1"/>
                  </a:solidFill>
                </a:endParaRPr>
              </a:p>
            </p:txBody>
          </p:sp>
        </mc:Choice>
        <mc:Fallback xmlns="">
          <p:sp>
            <p:nvSpPr>
              <p:cNvPr id="3" name="Textplatzhalter 2">
                <a:extLst>
                  <a:ext uri="{FF2B5EF4-FFF2-40B4-BE49-F238E27FC236}">
                    <a16:creationId xmlns:a16="http://schemas.microsoft.com/office/drawing/2014/main" id="{E518CAB3-22EC-0404-CA7E-A26BBF9D3433}"/>
                  </a:ext>
                </a:extLst>
              </p:cNvPr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type="body" sz="quarter" idx="17"/>
              </p:nvPr>
            </p:nvSpPr>
            <p:spPr>
              <a:xfrm>
                <a:off x="6203950" y="4798746"/>
                <a:ext cx="5616575" cy="1478228"/>
              </a:xfrm>
              <a:blipFill>
                <a:blip r:embed="rId9"/>
                <a:stretch>
                  <a:fillRect l="-2483" t="-4237"/>
                </a:stretch>
              </a:blipFill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49" name="Picture 48" descr="A purple square with black lines and arrows&#10;&#10;AI-generated content may be incorrect.">
            <a:extLst>
              <a:ext uri="{FF2B5EF4-FFF2-40B4-BE49-F238E27FC236}">
                <a16:creationId xmlns:a16="http://schemas.microsoft.com/office/drawing/2014/main" id="{5823ADC9-1B16-F61A-4505-086C49F8E179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7932738" y="2457275"/>
            <a:ext cx="3544729" cy="2017297"/>
          </a:xfrm>
          <a:prstGeom prst="rect">
            <a:avLst/>
          </a:prstGeom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4" name="TextBox 3">
                <a:extLst>
                  <a:ext uri="{FF2B5EF4-FFF2-40B4-BE49-F238E27FC236}">
                    <a16:creationId xmlns:a16="http://schemas.microsoft.com/office/drawing/2014/main" id="{AE0F1F8E-07F5-C076-8BB4-658C35B2DE20}"/>
                  </a:ext>
                </a:extLst>
              </p:cNvPr>
              <p:cNvSpPr txBox="1"/>
              <p:nvPr/>
            </p:nvSpPr>
            <p:spPr bwMode="gray">
              <a:xfrm>
                <a:off x="6971386" y="213051"/>
                <a:ext cx="1080000" cy="646331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3500" b="1" i="0" smtClean="0">
                          <a:latin typeface="Cambria Math" panose="02040503050406030204" pitchFamily="18" charset="0"/>
                        </a:rPr>
                        <m:t>𝚫𝚪</m:t>
                      </m:r>
                    </m:oMath>
                  </m:oMathPara>
                </a14:m>
                <a:endParaRPr lang="en-GB" sz="3500" b="1" dirty="0"/>
              </a:p>
            </p:txBody>
          </p:sp>
        </mc:Choice>
        <mc:Fallback xmlns="">
          <p:sp>
            <p:nvSpPr>
              <p:cNvPr id="4" name="TextBox 3">
                <a:extLst>
                  <a:ext uri="{FF2B5EF4-FFF2-40B4-BE49-F238E27FC236}">
                    <a16:creationId xmlns:a16="http://schemas.microsoft.com/office/drawing/2014/main" id="{AE0F1F8E-07F5-C076-8BB4-658C35B2DE20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gray">
              <a:xfrm>
                <a:off x="6971386" y="213051"/>
                <a:ext cx="1080000" cy="646331"/>
              </a:xfrm>
              <a:prstGeom prst="rect">
                <a:avLst/>
              </a:prstGeom>
              <a:blipFill>
                <a:blip r:embed="rId11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5" name="Picture Placeholder 15" descr="A diagram of a diagram&#10;&#10;AI-generated content may be incorrect.">
            <a:extLst>
              <a:ext uri="{FF2B5EF4-FFF2-40B4-BE49-F238E27FC236}">
                <a16:creationId xmlns:a16="http://schemas.microsoft.com/office/drawing/2014/main" id="{E3460129-8E3F-4252-FE1B-9ACD90BD2CCB}"/>
              </a:ext>
            </a:extLst>
          </p:cNvPr>
          <p:cNvPicPr>
            <a:picLocks noChangeAspect="1"/>
          </p:cNvPicPr>
          <p:nvPr/>
        </p:nvPicPr>
        <p:blipFill>
          <a:blip r:embed="rId12"/>
          <a:srcRect l="7644" r="7644"/>
          <a:stretch>
            <a:fillRect/>
          </a:stretch>
        </p:blipFill>
        <p:spPr bwMode="gray">
          <a:xfrm>
            <a:off x="4733188" y="1376363"/>
            <a:ext cx="2725624" cy="1560803"/>
          </a:xfrm>
          <a:prstGeom prst="rect">
            <a:avLst/>
          </a:prstGeom>
        </p:spPr>
      </p:pic>
      <p:sp>
        <p:nvSpPr>
          <p:cNvPr id="14" name="Curved Right Arrow 13">
            <a:extLst>
              <a:ext uri="{FF2B5EF4-FFF2-40B4-BE49-F238E27FC236}">
                <a16:creationId xmlns:a16="http://schemas.microsoft.com/office/drawing/2014/main" id="{DA91EC74-8DE5-C5AF-371D-64CF41C3D6BD}"/>
              </a:ext>
            </a:extLst>
          </p:cNvPr>
          <p:cNvSpPr/>
          <p:nvPr/>
        </p:nvSpPr>
        <p:spPr bwMode="gray">
          <a:xfrm rot="3626509">
            <a:off x="3488579" y="1375615"/>
            <a:ext cx="587537" cy="1308166"/>
          </a:xfrm>
          <a:prstGeom prst="curvedRightArrow">
            <a:avLst/>
          </a:prstGeom>
          <a:solidFill>
            <a:schemeClr val="accent1"/>
          </a:solidFill>
          <a:ln w="3175"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44000" tIns="144000" rIns="144000" bIns="144000" rtlCol="0" anchor="ctr"/>
          <a:lstStyle/>
          <a:p>
            <a:pPr algn="ctr"/>
            <a:endParaRPr lang="en-GB" sz="1400" b="1" dirty="0">
              <a:solidFill>
                <a:schemeClr val="bg1"/>
              </a:solidFill>
            </a:endParaRPr>
          </a:p>
        </p:txBody>
      </p:sp>
      <p:pic>
        <p:nvPicPr>
          <p:cNvPr id="8" name="Picture 7" descr="\documentclass{article}&#10;\usepackage{amsmath}&#10;\usepackage{xcolor}&#10;\pagestyle{empty}&#10;\begin{document}&#10;&#10;\definecolor{KITblue}{RGB}{0, 45, 76}&#10;\definecolor{KITlightblue}{RGB}{35, 161, 224}&#10;\definecolor{KITpurple}{RGB}{163, 16, 124}&#10;&#10;\begin{equation*}&#10;\color{KITblue}&#10;\Delta \Gamma \propto  \sum_{\alpha,\beta} \lambda_\alpha \lambda_\beta \left[ \color{KITpurple} \mathbf{H^{\alpha\beta}} \color{KITblue} \langle B\rvert Q \lvert \bar{B} \rangle + \color{KITpurple} \mathbf{\tilde{H}^{\alpha\beta}_S} \color{KITblue}  \langle B\rvert \tilde{Q}_S \lvert \bar{B} \rangle \right]&#10;\end{equation*}&#10;&#10;&#10;\end{document}" title="IguanaTex Picture Display">
            <a:extLst>
              <a:ext uri="{FF2B5EF4-FFF2-40B4-BE49-F238E27FC236}">
                <a16:creationId xmlns:a16="http://schemas.microsoft.com/office/drawing/2014/main" id="{A1734D50-63B2-6C17-A585-7898756FAD6D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13"/>
          <a:stretch>
            <a:fillRect/>
          </a:stretch>
        </p:blipFill>
        <p:spPr>
          <a:xfrm>
            <a:off x="6915213" y="5783116"/>
            <a:ext cx="4194048" cy="5039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40389774"/>
      </p:ext>
    </p:extLst>
  </p:cSld>
  <p:clrMapOvr>
    <a:masterClrMapping/>
  </p:clrMapOvr>
  <p:transition>
    <p:fad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F7F88B64-498D-35EB-6E75-E95C9354229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10567735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7772400" imgH="10058400" progId="TCLayout.ActiveDocument.1">
                  <p:embed/>
                </p:oleObj>
              </mc:Choice>
              <mc:Fallback>
                <p:oleObj name="think-cell Slide" r:id="rId10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656A35B3-63F9-6257-64C9-0A86A4CE4BD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/>
              <a:t>Evanescent operators present a unique challenge in dimensional regularisation.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6" name="Text Placeholder 5 1">
                <a:extLst>
                  <a:ext uri="{FF2B5EF4-FFF2-40B4-BE49-F238E27FC236}">
                    <a16:creationId xmlns:a16="http://schemas.microsoft.com/office/drawing/2014/main" id="{622BE640-80BE-5660-7702-03F580A75887}"/>
                  </a:ext>
                </a:extLst>
              </p:cNvPr>
              <p:cNvSpPr>
                <a:spLocks noGrp="1"/>
              </p:cNvSpPr>
              <p:nvPr>
                <p:ph type="body" sz="quarter" idx="17"/>
              </p:nvPr>
            </p:nvSpPr>
            <p:spPr>
              <a:xfrm>
                <a:off x="4260849" y="2600323"/>
                <a:ext cx="3671889" cy="3676651"/>
              </a:xfrm>
            </p:spPr>
            <p:txBody>
              <a:bodyPr/>
              <a:lstStyle/>
              <a:p>
                <a:pPr marL="270000" marR="0" lvl="1" indent="-270000" algn="l" defTabSz="914400" rtl="0" eaLnBrk="1" fontAlgn="auto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300"/>
                  </a:spcAft>
                  <a:buClr>
                    <a:srgbClr val="009682"/>
                  </a:buClr>
                  <a:buSzTx/>
                  <a:buFont typeface="Wingdings" panose="05000000000000000000" pitchFamily="2" charset="2"/>
                  <a:buChar char="§"/>
                  <a:tabLst/>
                  <a:defRPr/>
                </a:pPr>
                <a:r>
                  <a:rPr lang="en-GB" dirty="0">
                    <a:solidFill>
                      <a:srgbClr val="002D4C"/>
                    </a:solidFill>
                    <a:latin typeface="Arial"/>
                  </a:rPr>
                  <a:t>The operator renormalisation matrix is extended:</a:t>
                </a:r>
              </a:p>
              <a:p>
                <a:pPr marL="0" marR="0" lvl="1" indent="0" algn="l" defTabSz="914400" rtl="0" eaLnBrk="1" fontAlgn="auto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300"/>
                  </a:spcAft>
                  <a:buClr>
                    <a:srgbClr val="009682"/>
                  </a:buClr>
                  <a:buSzTx/>
                  <a:buNone/>
                  <a:tabLst/>
                  <a:defRPr/>
                </a:pPr>
                <a:endParaRPr lang="en-GB" noProof="0" dirty="0">
                  <a:solidFill>
                    <a:srgbClr val="002D4C"/>
                  </a:solidFill>
                  <a:latin typeface="Arial"/>
                </a:endParaRPr>
              </a:p>
              <a:p>
                <a:pPr marL="0" marR="0" lvl="1" indent="0" algn="l" defTabSz="914400" rtl="0" eaLnBrk="1" fontAlgn="auto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300"/>
                  </a:spcAft>
                  <a:buClr>
                    <a:srgbClr val="009682"/>
                  </a:buClr>
                  <a:buSzTx/>
                  <a:buNone/>
                  <a:tabLst/>
                  <a:defRPr/>
                </a:pPr>
                <a:endParaRPr lang="en-GB" dirty="0">
                  <a:solidFill>
                    <a:srgbClr val="002D4C"/>
                  </a:solidFill>
                  <a:latin typeface="Arial"/>
                </a:endParaRPr>
              </a:p>
              <a:p>
                <a:pPr marL="270000" marR="0" lvl="1" indent="-270000" algn="l" defTabSz="914400" rtl="0" eaLnBrk="1" fontAlgn="auto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300"/>
                  </a:spcAft>
                  <a:buClr>
                    <a:srgbClr val="009682"/>
                  </a:buClr>
                  <a:buSzTx/>
                  <a:buFont typeface="Wingdings" panose="05000000000000000000" pitchFamily="2" charset="2"/>
                  <a:buChar char="§"/>
                  <a:tabLst/>
                  <a:defRPr/>
                </a:pPr>
                <a:r>
                  <a:rPr lang="en-GB" noProof="0" dirty="0">
                    <a:solidFill>
                      <a:srgbClr val="002D4C"/>
                    </a:solidFill>
                    <a:latin typeface="Arial"/>
                  </a:rPr>
                  <a:t>Renormalised amplitudes of evanescent operators must be </a:t>
                </a:r>
                <a14:m>
                  <m:oMath xmlns:m="http://schemas.openxmlformats.org/officeDocument/2006/math">
                    <m:r>
                      <a:rPr lang="en-US" b="0" i="1" noProof="0" smtClean="0">
                        <a:solidFill>
                          <a:srgbClr val="002D4C"/>
                        </a:solidFill>
                        <a:latin typeface="Cambria Math" panose="02040503050406030204" pitchFamily="18" charset="0"/>
                      </a:rPr>
                      <m:t>𝑂</m:t>
                    </m:r>
                    <m:r>
                      <a:rPr lang="en-US" b="0" i="1" noProof="0" smtClean="0">
                        <a:solidFill>
                          <a:srgbClr val="002D4C"/>
                        </a:solidFill>
                        <a:latin typeface="Cambria Math" panose="02040503050406030204" pitchFamily="18" charset="0"/>
                      </a:rPr>
                      <m:t>(</m:t>
                    </m:r>
                    <m:r>
                      <a:rPr lang="en-US" b="0" i="1" noProof="0" smtClean="0">
                        <a:solidFill>
                          <a:srgbClr val="002D4C"/>
                        </a:solidFill>
                        <a:latin typeface="Cambria Math" panose="02040503050406030204" pitchFamily="18" charset="0"/>
                      </a:rPr>
                      <m:t>𝜖</m:t>
                    </m:r>
                    <m:r>
                      <a:rPr lang="en-US" b="0" i="1" noProof="0" smtClean="0">
                        <a:solidFill>
                          <a:srgbClr val="002D4C"/>
                        </a:solidFill>
                        <a:latin typeface="Cambria Math" panose="02040503050406030204" pitchFamily="18" charset="0"/>
                      </a:rPr>
                      <m:t>)</m:t>
                    </m:r>
                  </m:oMath>
                </a14:m>
                <a:r>
                  <a:rPr lang="en-GB" noProof="0" dirty="0">
                    <a:solidFill>
                      <a:srgbClr val="002D4C"/>
                    </a:solidFill>
                    <a:latin typeface="Arial"/>
                  </a:rPr>
                  <a:t>:</a:t>
                </a:r>
              </a:p>
              <a:p>
                <a:pPr marL="0" marR="0" lvl="1" indent="0" algn="l" defTabSz="914400" rtl="0" eaLnBrk="1" fontAlgn="auto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300"/>
                  </a:spcAft>
                  <a:buClr>
                    <a:srgbClr val="009682"/>
                  </a:buClr>
                  <a:buSzTx/>
                  <a:buNone/>
                  <a:tabLst/>
                  <a:defRPr/>
                </a:pPr>
                <a:endParaRPr lang="en-GB" sz="2800" noProof="0" dirty="0">
                  <a:solidFill>
                    <a:srgbClr val="002D4C"/>
                  </a:solidFill>
                  <a:latin typeface="Arial"/>
                </a:endParaRPr>
              </a:p>
              <a:p>
                <a:pPr marL="270000" marR="0" lvl="1" indent="-270000" algn="l" defTabSz="914400" rtl="0" eaLnBrk="1" fontAlgn="auto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300"/>
                  </a:spcAft>
                  <a:buClr>
                    <a:srgbClr val="009682"/>
                  </a:buClr>
                  <a:buSzTx/>
                  <a:buFont typeface="Wingdings" panose="05000000000000000000" pitchFamily="2" charset="2"/>
                  <a:buChar char="§"/>
                  <a:tabLst/>
                  <a:defRPr/>
                </a:pPr>
                <a:r>
                  <a:rPr lang="en-GB" noProof="0" dirty="0">
                    <a:solidFill>
                      <a:srgbClr val="002D4C"/>
                    </a:solidFill>
                    <a:latin typeface="Arial"/>
                  </a:rPr>
                  <a:t>Renormalised amplitudes of physical operators must be finite:</a:t>
                </a:r>
              </a:p>
              <a:p>
                <a:pPr marL="0" marR="0" lvl="1" indent="0" algn="l" defTabSz="914400" rtl="0" eaLnBrk="1" fontAlgn="auto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300"/>
                  </a:spcAft>
                  <a:buClr>
                    <a:srgbClr val="009682"/>
                  </a:buClr>
                  <a:buSzTx/>
                  <a:buNone/>
                  <a:tabLst/>
                  <a:defRPr/>
                </a:pPr>
                <a:endParaRPr lang="en-GB" noProof="0" dirty="0">
                  <a:solidFill>
                    <a:srgbClr val="002D4C"/>
                  </a:solidFill>
                  <a:latin typeface="Arial"/>
                </a:endParaRPr>
              </a:p>
              <a:p>
                <a:pPr marL="0" marR="0" lvl="1" indent="0" algn="l" defTabSz="914400" rtl="0" eaLnBrk="1" fontAlgn="auto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300"/>
                  </a:spcAft>
                  <a:buClr>
                    <a:srgbClr val="009682"/>
                  </a:buClr>
                  <a:buSzTx/>
                  <a:buNone/>
                  <a:tabLst/>
                  <a:defRPr/>
                </a:pPr>
                <a:endParaRPr lang="en-GB" noProof="0" dirty="0">
                  <a:solidFill>
                    <a:srgbClr val="002D4C"/>
                  </a:solidFill>
                  <a:latin typeface="Arial"/>
                </a:endParaRPr>
              </a:p>
            </p:txBody>
          </p:sp>
        </mc:Choice>
        <mc:Fallback xmlns="">
          <p:sp>
            <p:nvSpPr>
              <p:cNvPr id="6" name="Text Placeholder 5 1">
                <a:extLst>
                  <a:ext uri="{FF2B5EF4-FFF2-40B4-BE49-F238E27FC236}">
                    <a16:creationId xmlns:a16="http://schemas.microsoft.com/office/drawing/2014/main" id="{622BE640-80BE-5660-7702-03F580A75887}"/>
                  </a:ext>
                </a:extLst>
              </p:cNvPr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type="body" sz="quarter" idx="17"/>
              </p:nvPr>
            </p:nvSpPr>
            <p:spPr>
              <a:xfrm>
                <a:off x="4260849" y="2600323"/>
                <a:ext cx="3671889" cy="3676651"/>
              </a:xfrm>
              <a:blipFill>
                <a:blip r:embed="rId12"/>
                <a:stretch>
                  <a:fillRect l="-3103" t="-1718" r="-2414"/>
                </a:stretch>
              </a:blipFill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8" name="Text Placeholder 7">
                <a:extLst>
                  <a:ext uri="{FF2B5EF4-FFF2-40B4-BE49-F238E27FC236}">
                    <a16:creationId xmlns:a16="http://schemas.microsoft.com/office/drawing/2014/main" id="{6C8CE62A-3858-3BCD-100C-B710CF8DD754}"/>
                  </a:ext>
                </a:extLst>
              </p:cNvPr>
              <p:cNvSpPr>
                <a:spLocks noGrp="1"/>
              </p:cNvSpPr>
              <p:nvPr>
                <p:ph type="body" sz="quarter" idx="19"/>
              </p:nvPr>
            </p:nvSpPr>
            <p:spPr>
              <a:xfrm>
                <a:off x="8148639" y="2600325"/>
                <a:ext cx="3671889" cy="3676649"/>
              </a:xfrm>
            </p:spPr>
            <p:txBody>
              <a:bodyPr/>
              <a:lstStyle/>
              <a:p>
                <a:pPr marL="270000" marR="0" lvl="1" indent="-270000" algn="l" defTabSz="914400" rtl="0" eaLnBrk="1" fontAlgn="auto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300"/>
                  </a:spcAft>
                  <a:buClr>
                    <a:srgbClr val="009682"/>
                  </a:buClr>
                  <a:buSzTx/>
                  <a:buFont typeface="Wingdings" panose="05000000000000000000" pitchFamily="2" charset="2"/>
                  <a:buChar char="§"/>
                  <a:tabLst/>
                  <a:defRPr/>
                </a:pPr>
                <a:r>
                  <a:rPr lang="en-GB" dirty="0">
                    <a:solidFill>
                      <a:srgbClr val="002D4C"/>
                    </a:solidFill>
                    <a:latin typeface="Arial"/>
                  </a:rPr>
                  <a:t>Lower order amplitudes give rise to non-zero evanescent matching coefficients</a:t>
                </a:r>
              </a:p>
              <a:p>
                <a:pPr marL="0" marR="0" lvl="1" indent="0" algn="l" defTabSz="914400" rtl="0" eaLnBrk="1" fontAlgn="auto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300"/>
                  </a:spcAft>
                  <a:buClr>
                    <a:srgbClr val="009682"/>
                  </a:buClr>
                  <a:buSzTx/>
                  <a:buNone/>
                  <a:tabLst/>
                  <a:defRPr/>
                </a:pPr>
                <a:endParaRPr lang="en-GB" dirty="0">
                  <a:solidFill>
                    <a:srgbClr val="002D4C"/>
                  </a:solidFill>
                  <a:latin typeface="Arial"/>
                </a:endParaRPr>
              </a:p>
              <a:p>
                <a:pPr marL="0" marR="0" lvl="1" indent="0" algn="l" defTabSz="914400" rtl="0" eaLnBrk="1" fontAlgn="auto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300"/>
                  </a:spcAft>
                  <a:buClr>
                    <a:srgbClr val="009682"/>
                  </a:buClr>
                  <a:buSzTx/>
                  <a:buNone/>
                  <a:tabLst/>
                  <a:defRPr/>
                </a:pPr>
                <a:endParaRPr lang="en-GB" dirty="0">
                  <a:solidFill>
                    <a:srgbClr val="002D4C"/>
                  </a:solidFill>
                  <a:latin typeface="Arial"/>
                </a:endParaRPr>
              </a:p>
              <a:p>
                <a:pPr marL="0" marR="0" lvl="1" indent="0" algn="l" defTabSz="914400" rtl="0" eaLnBrk="1" fontAlgn="auto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300"/>
                  </a:spcAft>
                  <a:buClr>
                    <a:srgbClr val="009682"/>
                  </a:buClr>
                  <a:buSzTx/>
                  <a:buNone/>
                  <a:tabLst/>
                  <a:defRPr/>
                </a:pPr>
                <a:endParaRPr lang="en-GB" dirty="0">
                  <a:solidFill>
                    <a:srgbClr val="002D4C"/>
                  </a:solidFill>
                  <a:latin typeface="Arial"/>
                </a:endParaRPr>
              </a:p>
              <a:p>
                <a:pPr marL="270000" marR="0" lvl="1" indent="-270000" algn="l" defTabSz="914400" rtl="0" eaLnBrk="1" fontAlgn="auto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300"/>
                  </a:spcAft>
                  <a:buClr>
                    <a:srgbClr val="009682"/>
                  </a:buClr>
                  <a:buSzTx/>
                  <a:buFont typeface="Wingdings" panose="05000000000000000000" pitchFamily="2" charset="2"/>
                  <a:buChar char="§"/>
                  <a:tabLst/>
                  <a:defRPr/>
                </a:pPr>
                <a:r>
                  <a:rPr lang="en-GB" dirty="0">
                    <a:solidFill>
                      <a:srgbClr val="002D4C"/>
                    </a:solidFill>
                    <a:latin typeface="Arial"/>
                  </a:rPr>
                  <a:t>At higher orders, evanescent operators give rise to IR poles</a:t>
                </a:r>
              </a:p>
              <a:p>
                <a:pPr marL="0" marR="0" lvl="1" indent="0" algn="l" defTabSz="914400" rtl="0" eaLnBrk="1" fontAlgn="auto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300"/>
                  </a:spcAft>
                  <a:buClr>
                    <a:srgbClr val="009682"/>
                  </a:buClr>
                  <a:buSzTx/>
                  <a:buNone/>
                  <a:tabLst/>
                  <a:defRPr/>
                </a:pPr>
                <a:endParaRPr lang="en-GB" sz="2800" dirty="0">
                  <a:solidFill>
                    <a:srgbClr val="002D4C"/>
                  </a:solidFill>
                  <a:latin typeface="Arial"/>
                </a:endParaRPr>
              </a:p>
              <a:p>
                <a:pPr lvl="1">
                  <a:buClr>
                    <a:srgbClr val="009682"/>
                  </a:buClr>
                  <a:defRPr/>
                </a:pPr>
                <a:r>
                  <a:rPr lang="en-GB" dirty="0">
                    <a:solidFill>
                      <a:srgbClr val="002D4C"/>
                    </a:solidFill>
                    <a:latin typeface="Arial"/>
                  </a:rPr>
                  <a:t>Cancellation occurs between the </a:t>
                </a:r>
                <a14:m>
                  <m:oMath xmlns:m="http://schemas.openxmlformats.org/officeDocument/2006/math">
                    <m:r>
                      <m:rPr>
                        <m:sty m:val="p"/>
                      </m:rPr>
                      <a:rPr lang="en-US" b="0" i="0" smtClean="0">
                        <a:solidFill>
                          <a:srgbClr val="002D4C"/>
                        </a:solidFill>
                        <a:latin typeface="Cambria Math" panose="02040503050406030204" pitchFamily="18" charset="0"/>
                      </a:rPr>
                      <m:t>Δ</m:t>
                    </m:r>
                    <m:r>
                      <a:rPr lang="en-US" b="0" i="1" smtClean="0">
                        <a:solidFill>
                          <a:srgbClr val="002D4C"/>
                        </a:solidFill>
                        <a:latin typeface="Cambria Math" panose="02040503050406030204" pitchFamily="18" charset="0"/>
                      </a:rPr>
                      <m:t>𝐵</m:t>
                    </m:r>
                    <m:r>
                      <a:rPr lang="en-US" b="0" i="1" smtClean="0">
                        <a:solidFill>
                          <a:srgbClr val="002D4C"/>
                        </a:solidFill>
                        <a:latin typeface="Cambria Math" panose="02040503050406030204" pitchFamily="18" charset="0"/>
                      </a:rPr>
                      <m:t>=1 </m:t>
                    </m:r>
                  </m:oMath>
                </a14:m>
                <a:r>
                  <a:rPr lang="en-GB" dirty="0">
                    <a:solidFill>
                      <a:srgbClr val="002D4C"/>
                    </a:solidFill>
                    <a:latin typeface="Arial"/>
                  </a:rPr>
                  <a:t>and </a:t>
                </a:r>
                <a14:m>
                  <m:oMath xmlns:m="http://schemas.openxmlformats.org/officeDocument/2006/math">
                    <m:r>
                      <m:rPr>
                        <m:sty m:val="p"/>
                      </m:rPr>
                      <a:rPr lang="en-US">
                        <a:solidFill>
                          <a:srgbClr val="002D4C"/>
                        </a:solidFill>
                        <a:latin typeface="Cambria Math" panose="02040503050406030204" pitchFamily="18" charset="0"/>
                      </a:rPr>
                      <m:t>Δ</m:t>
                    </m:r>
                    <m:r>
                      <a:rPr lang="en-US" i="1">
                        <a:solidFill>
                          <a:srgbClr val="002D4C"/>
                        </a:solidFill>
                        <a:latin typeface="Cambria Math" panose="02040503050406030204" pitchFamily="18" charset="0"/>
                      </a:rPr>
                      <m:t>𝐵</m:t>
                    </m:r>
                    <m:r>
                      <a:rPr lang="en-US" i="1">
                        <a:solidFill>
                          <a:srgbClr val="002D4C"/>
                        </a:solidFill>
                        <a:latin typeface="Cambria Math" panose="02040503050406030204" pitchFamily="18" charset="0"/>
                      </a:rPr>
                      <m:t>=2 </m:t>
                    </m:r>
                  </m:oMath>
                </a14:m>
                <a:r>
                  <a:rPr lang="en-GB" dirty="0">
                    <a:solidFill>
                      <a:srgbClr val="002D4C"/>
                    </a:solidFill>
                    <a:latin typeface="Arial"/>
                  </a:rPr>
                  <a:t>sides</a:t>
                </a:r>
              </a:p>
            </p:txBody>
          </p:sp>
        </mc:Choice>
        <mc:Fallback xmlns="">
          <p:sp>
            <p:nvSpPr>
              <p:cNvPr id="8" name="Text Placeholder 7">
                <a:extLst>
                  <a:ext uri="{FF2B5EF4-FFF2-40B4-BE49-F238E27FC236}">
                    <a16:creationId xmlns:a16="http://schemas.microsoft.com/office/drawing/2014/main" id="{6C8CE62A-3858-3BCD-100C-B710CF8DD754}"/>
                  </a:ext>
                </a:extLst>
              </p:cNvPr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type="body" sz="quarter" idx="19"/>
              </p:nvPr>
            </p:nvSpPr>
            <p:spPr>
              <a:xfrm>
                <a:off x="8148639" y="2600325"/>
                <a:ext cx="3671889" cy="3676649"/>
              </a:xfrm>
              <a:blipFill>
                <a:blip r:embed="rId13"/>
                <a:stretch>
                  <a:fillRect l="-3103" t="-1718"/>
                </a:stretch>
              </a:blipFill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3CDB49DE-DC0F-A3BE-3C5A-253A8B8253D3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r>
              <a:rPr lang="de-DE" dirty="0"/>
              <a:t>08/07/2025</a:t>
            </a:r>
            <a:endParaRPr lang="en-US" dirty="0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A0A954C4-0419-0EC0-77F9-A77F73B33E0D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US" dirty="0"/>
              <a:t>Pascal Reeck – B meson mixing at NNLO</a:t>
            </a:r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26FF99EB-9EBB-EB76-58A0-B59D28A6B9DD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776FC98F-84AD-404B-BCCB-49E092AA6DE0}" type="slidenum">
              <a:rPr lang="en-US" smtClean="0"/>
              <a:pPr/>
              <a:t>8</a:t>
            </a:fld>
            <a:endParaRPr lang="en-US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5" name="Rechteck 13 1">
                <a:extLst>
                  <a:ext uri="{FF2B5EF4-FFF2-40B4-BE49-F238E27FC236}">
                    <a16:creationId xmlns:a16="http://schemas.microsoft.com/office/drawing/2014/main" id="{DD3AEC8B-AFF7-971E-6BFD-0BF8DAE73A64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71475" y="1592263"/>
                <a:ext cx="3671888" cy="792162"/>
              </a:xfrm>
              <a:prstGeom prst="rect">
                <a:avLst/>
              </a:prstGeom>
              <a:solidFill>
                <a:schemeClr val="accent1"/>
              </a:solidFill>
              <a:ln w="3175"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144000" tIns="144000" rIns="144000" bIns="144000" rtlCol="0" anchor="ctr"/>
              <a:lstStyle/>
              <a:p>
                <a:pPr algn="ctr"/>
                <a:r>
                  <a:rPr lang="en-US" sz="1600" b="1" dirty="0">
                    <a:solidFill>
                      <a:schemeClr val="bg1"/>
                    </a:solidFill>
                  </a:rPr>
                  <a:t>Evanescent operators appear in </a:t>
                </a:r>
              </a:p>
              <a:p>
                <a:pPr algn="ctr"/>
                <a:r>
                  <a:rPr lang="en-US" sz="1600" b="1" dirty="0">
                    <a:solidFill>
                      <a:schemeClr val="bg1"/>
                    </a:solidFill>
                  </a:rPr>
                  <a:t>d = 4 – 2 </a:t>
                </a:r>
                <a14:m>
                  <m:oMath xmlns:m="http://schemas.openxmlformats.org/officeDocument/2006/math">
                    <m:r>
                      <a:rPr lang="en-US" sz="1600" b="1" i="1" smtClean="0">
                        <a:solidFill>
                          <a:schemeClr val="bg1"/>
                        </a:solidFill>
                        <a:latin typeface="Cambria Math" panose="02040503050406030204" pitchFamily="18" charset="0"/>
                      </a:rPr>
                      <m:t>𝝐</m:t>
                    </m:r>
                  </m:oMath>
                </a14:m>
                <a:r>
                  <a:rPr lang="en-US" sz="1600" b="1" dirty="0">
                    <a:solidFill>
                      <a:schemeClr val="bg1"/>
                    </a:solidFill>
                  </a:rPr>
                  <a:t> dimensions</a:t>
                </a:r>
              </a:p>
            </p:txBody>
          </p:sp>
        </mc:Choice>
        <mc:Fallback xmlns="">
          <p:sp>
            <p:nvSpPr>
              <p:cNvPr id="35" name="Rechteck 13 1">
                <a:extLst>
                  <a:ext uri="{FF2B5EF4-FFF2-40B4-BE49-F238E27FC236}">
                    <a16:creationId xmlns:a16="http://schemas.microsoft.com/office/drawing/2014/main" id="{DD3AEC8B-AFF7-971E-6BFD-0BF8DAE73A64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gray">
              <a:xfrm>
                <a:off x="371475" y="1592263"/>
                <a:ext cx="3671888" cy="792162"/>
              </a:xfrm>
              <a:prstGeom prst="rect">
                <a:avLst/>
              </a:prstGeom>
              <a:blipFill>
                <a:blip r:embed="rId14"/>
                <a:stretch>
                  <a:fillRect/>
                </a:stretch>
              </a:blipFill>
              <a:ln w="3175">
                <a:solidFill>
                  <a:schemeClr val="accent1"/>
                </a:solidFill>
              </a:ln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36" name="Rechteck 13 2">
            <a:extLst>
              <a:ext uri="{FF2B5EF4-FFF2-40B4-BE49-F238E27FC236}">
                <a16:creationId xmlns:a16="http://schemas.microsoft.com/office/drawing/2014/main" id="{D5D2A2AE-0581-803C-397A-A68E6D024B41}"/>
              </a:ext>
            </a:extLst>
          </p:cNvPr>
          <p:cNvSpPr>
            <a:spLocks/>
          </p:cNvSpPr>
          <p:nvPr/>
        </p:nvSpPr>
        <p:spPr bwMode="gray">
          <a:xfrm>
            <a:off x="4259263" y="1592263"/>
            <a:ext cx="3671888" cy="792162"/>
          </a:xfrm>
          <a:prstGeom prst="rect">
            <a:avLst/>
          </a:prstGeom>
          <a:solidFill>
            <a:schemeClr val="accent1"/>
          </a:solidFill>
          <a:ln w="3175"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44000" tIns="144000" rIns="144000" bIns="144000" rtlCol="0" anchor="ctr"/>
          <a:lstStyle/>
          <a:p>
            <a:pPr algn="ctr"/>
            <a:r>
              <a:rPr lang="en-GB" sz="1600" b="1" noProof="0" dirty="0">
                <a:solidFill>
                  <a:schemeClr val="bg1"/>
                </a:solidFill>
              </a:rPr>
              <a:t>Additional </a:t>
            </a:r>
            <a:r>
              <a:rPr lang="en-GB" sz="1600" b="1" noProof="0" dirty="0" err="1">
                <a:solidFill>
                  <a:schemeClr val="bg1"/>
                </a:solidFill>
              </a:rPr>
              <a:t>counterterms</a:t>
            </a:r>
            <a:r>
              <a:rPr lang="en-GB" sz="1600" b="1" noProof="0" dirty="0">
                <a:solidFill>
                  <a:schemeClr val="bg1"/>
                </a:solidFill>
              </a:rPr>
              <a:t> arise from evanescent operators</a:t>
            </a:r>
            <a:endParaRPr lang="en-GB" sz="1600" b="1" dirty="0">
              <a:solidFill>
                <a:schemeClr val="bg1"/>
              </a:solidFill>
            </a:endParaRPr>
          </a:p>
        </p:txBody>
      </p:sp>
      <p:sp>
        <p:nvSpPr>
          <p:cNvPr id="38" name="Rechteck 13 3">
            <a:extLst>
              <a:ext uri="{FF2B5EF4-FFF2-40B4-BE49-F238E27FC236}">
                <a16:creationId xmlns:a16="http://schemas.microsoft.com/office/drawing/2014/main" id="{AA7D8FF7-822C-EC35-1F24-7515E5783F81}"/>
              </a:ext>
            </a:extLst>
          </p:cNvPr>
          <p:cNvSpPr>
            <a:spLocks/>
          </p:cNvSpPr>
          <p:nvPr/>
        </p:nvSpPr>
        <p:spPr bwMode="gray">
          <a:xfrm>
            <a:off x="8148637" y="1592263"/>
            <a:ext cx="3671888" cy="792162"/>
          </a:xfrm>
          <a:prstGeom prst="rect">
            <a:avLst/>
          </a:prstGeom>
          <a:solidFill>
            <a:schemeClr val="accent1"/>
          </a:solidFill>
          <a:ln w="3175"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44000" tIns="144000" rIns="144000" bIns="144000" rtlCol="0" anchor="ctr"/>
          <a:lstStyle/>
          <a:p>
            <a:pPr algn="ctr"/>
            <a:r>
              <a:rPr lang="en-GB" sz="1600" b="1" noProof="0" dirty="0">
                <a:solidFill>
                  <a:schemeClr val="bg1"/>
                </a:solidFill>
              </a:rPr>
              <a:t>IR divergences cancel in the matching with evanescent operators</a:t>
            </a:r>
            <a:endParaRPr lang="en-US" sz="1600" b="1" dirty="0">
              <a:solidFill>
                <a:schemeClr val="bg1"/>
              </a:solidFill>
            </a:endParaRPr>
          </a:p>
        </p:txBody>
      </p:sp>
      <p:pic>
        <p:nvPicPr>
          <p:cNvPr id="42" name="Picture 41" descr="A black arrows in a white background&#10;&#10;AI-generated content may be incorrect.">
            <a:extLst>
              <a:ext uri="{FF2B5EF4-FFF2-40B4-BE49-F238E27FC236}">
                <a16:creationId xmlns:a16="http://schemas.microsoft.com/office/drawing/2014/main" id="{D8F1AA97-FDCA-638B-CC55-B0BA3F729EAB}"/>
              </a:ext>
            </a:extLst>
          </p:cNvPr>
          <p:cNvPicPr>
            <a:picLocks noChangeAspect="1"/>
          </p:cNvPicPr>
          <p:nvPr/>
        </p:nvPicPr>
        <p:blipFill>
          <a:blip r:embed="rId15"/>
          <a:srcRect b="18034"/>
          <a:stretch/>
        </p:blipFill>
        <p:spPr>
          <a:xfrm>
            <a:off x="368615" y="2600325"/>
            <a:ext cx="3684527" cy="1121821"/>
          </a:xfrm>
          <a:prstGeom prst="rect">
            <a:avLst/>
          </a:prstGeom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44" name="Text Placeholder 5 2">
                <a:extLst>
                  <a:ext uri="{FF2B5EF4-FFF2-40B4-BE49-F238E27FC236}">
                    <a16:creationId xmlns:a16="http://schemas.microsoft.com/office/drawing/2014/main" id="{64025BC3-48A2-2DAA-9982-7F3D32516078}"/>
                  </a:ext>
                </a:extLst>
              </p:cNvPr>
              <p:cNvSpPr txBox="1">
                <a:spLocks/>
              </p:cNvSpPr>
              <p:nvPr/>
            </p:nvSpPr>
            <p:spPr bwMode="gray">
              <a:xfrm>
                <a:off x="381253" y="3938047"/>
                <a:ext cx="3671889" cy="2335754"/>
              </a:xfrm>
              <a:prstGeom prst="rect">
                <a:avLst/>
              </a:prstGeom>
            </p:spPr>
            <p:txBody>
              <a:bodyPr vert="horz" lIns="0" tIns="0" rIns="0" bIns="0" rtlCol="0">
                <a:noAutofit/>
              </a:bodyPr>
              <a:lstStyle>
                <a:lvl1pPr marL="0" indent="0" algn="l" defTabSz="914400" rtl="0" eaLnBrk="1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300"/>
                  </a:spcAft>
                  <a:buFont typeface="Arial" panose="020B0604020202020204" pitchFamily="34" charset="0"/>
                  <a:buNone/>
                  <a:defRPr sz="16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270000" indent="-270000" algn="l" defTabSz="914400" rtl="0" eaLnBrk="1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300"/>
                  </a:spcAft>
                  <a:buClr>
                    <a:schemeClr val="accent1"/>
                  </a:buClr>
                  <a:buFont typeface="Wingdings" panose="05000000000000000000" pitchFamily="2" charset="2"/>
                  <a:buChar char="§"/>
                  <a:defRPr sz="16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270000" indent="-270000" algn="l" defTabSz="914400" rtl="0" eaLnBrk="1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300"/>
                  </a:spcAft>
                  <a:buClr>
                    <a:schemeClr val="accent1"/>
                  </a:buClr>
                  <a:buFont typeface="+mj-lt"/>
                  <a:buAutoNum type="arabicPeriod"/>
                  <a:defRPr sz="16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540000" indent="-27000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Clr>
                    <a:schemeClr val="accent1"/>
                  </a:buClr>
                  <a:buFont typeface="Symbol" panose="05050102010706020507" pitchFamily="18" charset="2"/>
                  <a:buChar char="-"/>
                  <a:defRPr sz="16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540000" indent="-27000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Clr>
                    <a:schemeClr val="accent1"/>
                  </a:buClr>
                  <a:buFont typeface="+mj-lt"/>
                  <a:buAutoNum type="alphaLcPeriod"/>
                  <a:defRPr sz="16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0" indent="0" algn="l" defTabSz="914400" rtl="0" eaLnBrk="1" latinLnBrk="0" hangingPunct="1">
                  <a:lnSpc>
                    <a:spcPct val="85000"/>
                  </a:lnSpc>
                  <a:spcBef>
                    <a:spcPts val="1200"/>
                  </a:spcBef>
                  <a:spcAft>
                    <a:spcPts val="600"/>
                  </a:spcAft>
                  <a:buFont typeface="Arial" panose="020B0604020202020204" pitchFamily="34" charset="0"/>
                  <a:buNone/>
                  <a:defRPr sz="2000" b="1" kern="1200">
                    <a:solidFill>
                      <a:schemeClr val="accent1"/>
                    </a:solidFill>
                    <a:latin typeface="+mn-lt"/>
                    <a:ea typeface="+mn-ea"/>
                    <a:cs typeface="+mn-cs"/>
                  </a:defRPr>
                </a:lvl6pPr>
                <a:lvl7pPr marL="0" indent="0" algn="l" defTabSz="914400" rtl="0" eaLnBrk="1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300"/>
                  </a:spcAft>
                  <a:buFont typeface="Arial" panose="020B0604020202020204" pitchFamily="34" charset="0"/>
                  <a:buNone/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0" indent="0" algn="l" defTabSz="914400" rtl="0" eaLnBrk="1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300"/>
                  </a:spcAft>
                  <a:buFont typeface="Arial" panose="020B0604020202020204" pitchFamily="34" charset="0"/>
                  <a:buNone/>
                  <a:defRPr sz="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0" indent="0" algn="l" defTabSz="914400" rtl="0" eaLnBrk="1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300"/>
                  </a:spcAft>
                  <a:buFont typeface="Arial" panose="020B0604020202020204" pitchFamily="34" charset="0"/>
                  <a:buNone/>
                  <a:defRPr sz="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270000" marR="0" lvl="1" indent="-270000" algn="l" defTabSz="914400" rtl="0" eaLnBrk="1" fontAlgn="auto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300"/>
                  </a:spcAft>
                  <a:buClr>
                    <a:srgbClr val="009682"/>
                  </a:buClr>
                  <a:buSzTx/>
                  <a:buFont typeface="Wingdings" panose="05000000000000000000" pitchFamily="2" charset="2"/>
                  <a:buChar char="§"/>
                  <a:tabLst/>
                  <a:defRPr/>
                </a:pPr>
                <a:r>
                  <a:rPr lang="en-US" dirty="0">
                    <a:solidFill>
                      <a:srgbClr val="002D4C"/>
                    </a:solidFill>
                    <a:latin typeface="Arial"/>
                  </a:rPr>
                  <a:t>A 1-loop correction to a physical operator has an </a:t>
                </a:r>
                <a14:m>
                  <m:oMath xmlns:m="http://schemas.openxmlformats.org/officeDocument/2006/math">
                    <m:r>
                      <a:rPr lang="en-US" b="0" i="1" smtClean="0">
                        <a:solidFill>
                          <a:srgbClr val="002D4C"/>
                        </a:solidFill>
                        <a:latin typeface="Cambria Math" panose="02040503050406030204" pitchFamily="18" charset="0"/>
                      </a:rPr>
                      <m:t>𝑂</m:t>
                    </m:r>
                    <m:r>
                      <a:rPr lang="en-US" b="0" i="1" smtClean="0">
                        <a:solidFill>
                          <a:srgbClr val="002D4C"/>
                        </a:solidFill>
                        <a:latin typeface="Cambria Math" panose="02040503050406030204" pitchFamily="18" charset="0"/>
                      </a:rPr>
                      <m:t>(</m:t>
                    </m:r>
                    <m:r>
                      <a:rPr lang="en-US" b="0" i="1" smtClean="0">
                        <a:solidFill>
                          <a:srgbClr val="002D4C"/>
                        </a:solidFill>
                        <a:latin typeface="Cambria Math" panose="02040503050406030204" pitchFamily="18" charset="0"/>
                      </a:rPr>
                      <m:t>𝜖</m:t>
                    </m:r>
                    <m:r>
                      <a:rPr lang="en-US" b="0" i="1" smtClean="0">
                        <a:solidFill>
                          <a:srgbClr val="002D4C"/>
                        </a:solidFill>
                        <a:latin typeface="Cambria Math" panose="02040503050406030204" pitchFamily="18" charset="0"/>
                      </a:rPr>
                      <m:t>)</m:t>
                    </m:r>
                  </m:oMath>
                </a14:m>
                <a:r>
                  <a:rPr lang="en-US" dirty="0">
                    <a:solidFill>
                      <a:srgbClr val="002D4C"/>
                    </a:solidFill>
                    <a:latin typeface="Arial"/>
                  </a:rPr>
                  <a:t> contribution:</a:t>
                </a:r>
              </a:p>
              <a:p>
                <a:pPr marL="0" marR="0" lvl="1" indent="0" algn="l" defTabSz="914400" rtl="0" eaLnBrk="1" fontAlgn="auto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300"/>
                  </a:spcAft>
                  <a:buClr>
                    <a:srgbClr val="009682"/>
                  </a:buClr>
                  <a:buSzTx/>
                  <a:buNone/>
                  <a:tabLst/>
                  <a:defRPr/>
                </a:pPr>
                <a:endParaRPr lang="en-US" sz="2400" dirty="0">
                  <a:solidFill>
                    <a:srgbClr val="002D4C"/>
                  </a:solidFill>
                  <a:latin typeface="Arial"/>
                </a:endParaRPr>
              </a:p>
              <a:p>
                <a:pPr marL="0" marR="0" lvl="1" indent="0" algn="l" defTabSz="914400" rtl="0" eaLnBrk="1" fontAlgn="auto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300"/>
                  </a:spcAft>
                  <a:buClr>
                    <a:srgbClr val="009682"/>
                  </a:buClr>
                  <a:buSzTx/>
                  <a:buNone/>
                  <a:tabLst/>
                  <a:defRPr/>
                </a:pPr>
                <a:endParaRPr lang="en-US" sz="2400" dirty="0">
                  <a:solidFill>
                    <a:srgbClr val="002D4C"/>
                  </a:solidFill>
                  <a:latin typeface="Arial"/>
                </a:endParaRPr>
              </a:p>
              <a:p>
                <a:pPr marL="270000" marR="0" lvl="1" indent="-270000" algn="l" defTabSz="914400" rtl="0" eaLnBrk="1" fontAlgn="auto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300"/>
                  </a:spcAft>
                  <a:buClr>
                    <a:srgbClr val="009682"/>
                  </a:buClr>
                  <a:buSzTx/>
                  <a:buFont typeface="Wingdings" panose="05000000000000000000" pitchFamily="2" charset="2"/>
                  <a:buChar char="§"/>
                  <a:tabLst/>
                  <a:defRPr/>
                </a:pPr>
                <a:r>
                  <a:rPr lang="en-US" dirty="0">
                    <a:solidFill>
                      <a:srgbClr val="002D4C"/>
                    </a:solidFill>
                    <a:latin typeface="Arial"/>
                  </a:rPr>
                  <a:t>The number of evanescent operators increases with higher loop orders</a:t>
                </a:r>
              </a:p>
            </p:txBody>
          </p:sp>
        </mc:Choice>
        <mc:Fallback xmlns="">
          <p:sp>
            <p:nvSpPr>
              <p:cNvPr id="44" name="Text Placeholder 5 2">
                <a:extLst>
                  <a:ext uri="{FF2B5EF4-FFF2-40B4-BE49-F238E27FC236}">
                    <a16:creationId xmlns:a16="http://schemas.microsoft.com/office/drawing/2014/main" id="{64025BC3-48A2-2DAA-9982-7F3D32516078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gray">
              <a:xfrm>
                <a:off x="381253" y="3938047"/>
                <a:ext cx="3671889" cy="2335754"/>
              </a:xfrm>
              <a:prstGeom prst="rect">
                <a:avLst/>
              </a:prstGeom>
              <a:blipFill>
                <a:blip r:embed="rId16"/>
                <a:stretch>
                  <a:fillRect l="-3448" t="-2717" r="-2759"/>
                </a:stretch>
              </a:blipFill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3" name="Picture 2" descr="\documentclass{article}&#10;\usepackage{amsmath}&#10;\usepackage{xcolor}&#10;\pagestyle{empty}&#10;\begin{document}&#10;&#10;\definecolor{KITblue}{RGB}{0, 45, 76}&#10;\definecolor{KITlightblue}{RGB}{35, 161, 224}&#10;\definecolor{KITpurple}{RGB}{163, 16, 124}&#10;&#10;\begin{align*}&#10;\color{KITblue}&#10;\langle P_2 \rangle^{(1)} &amp; \color{KITblue} \sim (\bar{s} \gamma^{\mu_1} \gamma^{\mu_2} \gamma^{\mu_3} c_L)\, (\bar{c} \gamma_{\mu_1} \gamma_{\mu_2} \gamma_{\mu_3} b_L)\\&#10;&amp; \color{KITblue} \sim 16 \langle P_2 \rangle^\text{tree} + \langle E_2 \rangle^\text{tree}&#10;\end{align*}&#10;&#10;&#10;\end{document}" title="IguanaTex Picture Display">
            <a:extLst>
              <a:ext uri="{FF2B5EF4-FFF2-40B4-BE49-F238E27FC236}">
                <a16:creationId xmlns:a16="http://schemas.microsoft.com/office/drawing/2014/main" id="{D36BCF42-B86D-4389-BE55-461B39933ADE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17"/>
          <a:stretch>
            <a:fillRect/>
          </a:stretch>
        </p:blipFill>
        <p:spPr>
          <a:xfrm>
            <a:off x="428200" y="4602681"/>
            <a:ext cx="3558438" cy="565709"/>
          </a:xfrm>
          <a:prstGeom prst="rect">
            <a:avLst/>
          </a:prstGeom>
        </p:spPr>
      </p:pic>
      <p:pic>
        <p:nvPicPr>
          <p:cNvPr id="64" name="Picture 63" descr="\documentclass{article}&#10;\usepackage{amsmath}&#10;\usepackage{xcolor}&#10;\pagestyle{empty}&#10;\begin{document}&#10;&#10;\definecolor{KITblue}{RGB}{0, 45, 76}&#10;\definecolor{KITlightblue}{RGB}{35, 161, 224}&#10;\definecolor{KITpurple}{RGB}{163, 16, 124}&#10;&#10;\begin{equation*}&#10;\color{KITblue}&#10;\begin{pmatrix} \vec{C}_P^0 &amp; \vec{C}_E^0 \end{pmatrix} = \begin{pmatrix} \vec{C}_P &amp; \vec{C}_E \end{pmatrix} \begin{pmatrix} Z_{PP} &amp; Z_{PE}\\ Z_{EP} &amp; Z_{EE} \end{pmatrix}&#10;\end{equation*}&#10;&#10;&#10;\end{document}" title="IguanaTex Picture Display">
            <a:extLst>
              <a:ext uri="{FF2B5EF4-FFF2-40B4-BE49-F238E27FC236}">
                <a16:creationId xmlns:a16="http://schemas.microsoft.com/office/drawing/2014/main" id="{DC6CA9C7-5F1B-1305-8558-DD1B1E802AA3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18"/>
          <a:stretch>
            <a:fillRect/>
          </a:stretch>
        </p:blipFill>
        <p:spPr>
          <a:xfrm>
            <a:off x="4380199" y="3161585"/>
            <a:ext cx="3430016" cy="486054"/>
          </a:xfrm>
          <a:prstGeom prst="rect">
            <a:avLst/>
          </a:prstGeom>
        </p:spPr>
      </p:pic>
      <p:pic>
        <p:nvPicPr>
          <p:cNvPr id="62" name="Picture 61" descr="\documentclass{article}&#10;\usepackage{amsmath}&#10;\usepackage{xcolor}&#10;\pagestyle{empty}&#10;\begin{document}&#10;&#10;\definecolor{KITblue}{RGB}{0, 45, 76}&#10;\definecolor{KITlightblue}{RGB}{35, 161, 224}&#10;\definecolor{KITpurple}{RGB}{163, 16, 124}&#10;&#10;\begin{equation*}&#10;\color{KITblue}&#10;Z_{EP} = \alpha_s Z_{EP}^{(1,0)} + \mathcal{O}(\alpha_s^2)&#10;\end{equation*}&#10;&#10;&#10;\end{document}" title="IguanaTex Picture Display">
            <a:extLst>
              <a:ext uri="{FF2B5EF4-FFF2-40B4-BE49-F238E27FC236}">
                <a16:creationId xmlns:a16="http://schemas.microsoft.com/office/drawing/2014/main" id="{560FA902-EE9A-1CE6-A027-C49BBC1C2E46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19"/>
          <a:stretch>
            <a:fillRect/>
          </a:stretch>
        </p:blipFill>
        <p:spPr>
          <a:xfrm>
            <a:off x="5022311" y="4457138"/>
            <a:ext cx="2145792" cy="269850"/>
          </a:xfrm>
          <a:prstGeom prst="rect">
            <a:avLst/>
          </a:prstGeom>
        </p:spPr>
      </p:pic>
      <p:pic>
        <p:nvPicPr>
          <p:cNvPr id="69" name="Picture 68" descr="\documentclass{article}&#10;\usepackage{amsmath}&#10;\usepackage{xcolor}&#10;\pagestyle{empty}&#10;\begin{document}&#10;&#10;\definecolor{KITblue}{RGB}{0, 45, 76}&#10;\definecolor{KITlightblue}{RGB}{35, 161, 224}&#10;\definecolor{KITpurple}{RGB}{163, 16, 124}&#10;&#10;\begin{equation*}&#10;\color{KITblue}&#10;Z_{PE} = \frac{\alpha_s }{\epsilon} Z_{PE}^{(1,1)} + \mathcal{O}(\alpha_s^2)&#10;\end{equation*}&#10;&#10;&#10;\end{document}" title="IguanaTex Picture Display">
            <a:extLst>
              <a:ext uri="{FF2B5EF4-FFF2-40B4-BE49-F238E27FC236}">
                <a16:creationId xmlns:a16="http://schemas.microsoft.com/office/drawing/2014/main" id="{EB3CF823-D4C2-8E45-4B11-0D008D64E130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20"/>
          <a:stretch>
            <a:fillRect/>
          </a:stretch>
        </p:blipFill>
        <p:spPr>
          <a:xfrm>
            <a:off x="5016500" y="5468171"/>
            <a:ext cx="2194560" cy="365761"/>
          </a:xfrm>
          <a:prstGeom prst="rect">
            <a:avLst/>
          </a:prstGeom>
        </p:spPr>
      </p:pic>
      <p:grpSp>
        <p:nvGrpSpPr>
          <p:cNvPr id="80" name="Group 79">
            <a:extLst>
              <a:ext uri="{FF2B5EF4-FFF2-40B4-BE49-F238E27FC236}">
                <a16:creationId xmlns:a16="http://schemas.microsoft.com/office/drawing/2014/main" id="{AA963451-119F-9591-1672-65A5AD6D2F63}"/>
              </a:ext>
            </a:extLst>
          </p:cNvPr>
          <p:cNvGrpSpPr/>
          <p:nvPr/>
        </p:nvGrpSpPr>
        <p:grpSpPr>
          <a:xfrm>
            <a:off x="8541045" y="3407018"/>
            <a:ext cx="2887071" cy="841130"/>
            <a:chOff x="8445500" y="3375271"/>
            <a:chExt cx="2887071" cy="841130"/>
          </a:xfrm>
        </p:grpSpPr>
        <p:pic>
          <p:nvPicPr>
            <p:cNvPr id="71" name="Picture 70" descr="A circular diagram with orange circles and black arrows&#10;&#10;AI-generated content may be incorrect.">
              <a:extLst>
                <a:ext uri="{FF2B5EF4-FFF2-40B4-BE49-F238E27FC236}">
                  <a16:creationId xmlns:a16="http://schemas.microsoft.com/office/drawing/2014/main" id="{5FB7AC81-7852-B7BC-732D-ED3B75898535}"/>
                </a:ext>
              </a:extLst>
            </p:cNvPr>
            <p:cNvPicPr>
              <a:picLocks noChangeAspect="1"/>
            </p:cNvPicPr>
            <p:nvPr/>
          </p:nvPicPr>
          <p:blipFill>
            <a:blip r:embed="rId21"/>
            <a:stretch>
              <a:fillRect/>
            </a:stretch>
          </p:blipFill>
          <p:spPr>
            <a:xfrm>
              <a:off x="8445500" y="3375271"/>
              <a:ext cx="1649581" cy="841130"/>
            </a:xfrm>
            <a:prstGeom prst="rect">
              <a:avLst/>
            </a:prstGeom>
          </p:spPr>
        </p:pic>
        <p:pic>
          <p:nvPicPr>
            <p:cNvPr id="77" name="Picture 76" descr="\documentclass{article}&#10;\usepackage{amsmath}&#10;\usepackage{xcolor}&#10;\pagestyle{empty}&#10;\begin{document}&#10;&#10;\definecolor{KITblue}{RGB}{0, 45, 76}&#10;\definecolor{KITlightblue}{RGB}{35, 161, 224}&#10;\definecolor{KITpurple}{RGB}{163, 16, 124}&#10;&#10;\begin{equation*}&#10;\color{KITblue}&#10;\supset \quad \langle E^{(3)}_{1-4} \rangle&#10;\end{equation*}&#10;&#10;&#10;\end{document}" title="IguanaTex Picture Display">
              <a:extLst>
                <a:ext uri="{FF2B5EF4-FFF2-40B4-BE49-F238E27FC236}">
                  <a16:creationId xmlns:a16="http://schemas.microsoft.com/office/drawing/2014/main" id="{564ABFC1-0980-DDF0-00A7-1909645D2553}"/>
                </a:ext>
              </a:extLst>
            </p:cNvPr>
            <p:cNvPicPr>
              <a:picLocks noChangeAspect="1"/>
            </p:cNvPicPr>
            <p:nvPr>
              <p:custDataLst>
                <p:tags r:id="rId7"/>
              </p:custDataLst>
            </p:nvPr>
          </p:nvPicPr>
          <p:blipFill>
            <a:blip r:embed="rId22"/>
            <a:stretch>
              <a:fillRect/>
            </a:stretch>
          </p:blipFill>
          <p:spPr>
            <a:xfrm>
              <a:off x="10349082" y="3664162"/>
              <a:ext cx="983489" cy="263347"/>
            </a:xfrm>
            <a:prstGeom prst="rect">
              <a:avLst/>
            </a:prstGeom>
          </p:spPr>
        </p:pic>
      </p:grpSp>
      <p:pic>
        <p:nvPicPr>
          <p:cNvPr id="4" name="Picture 3" descr="\documentclass{article}&#10;\usepackage{amsmath}&#10;\usepackage{xcolor}&#10;\pagestyle{empty}&#10;\begin{document}&#10;&#10;\definecolor{KITblue}{RGB}{0, 45, 76}&#10;\definecolor{KITlightblue}{RGB}{35, 161, 224}&#10;\definecolor{KITpurple}{RGB}{163, 16, 124}&#10;&#10;\begin{equation*}&#10;\color{KITblue}&#10;H_E \langle E \rangle^{(2)} \supset H_E \frac{\alpha_s^2}{\epsilon} \langle Q \rangle^{(0)}&#10;\end{equation*}&#10;&#10;&#10;\end{document}" title="IguanaTex Picture Display">
            <a:extLst>
              <a:ext uri="{FF2B5EF4-FFF2-40B4-BE49-F238E27FC236}">
                <a16:creationId xmlns:a16="http://schemas.microsoft.com/office/drawing/2014/main" id="{E90758DC-2DF3-64AB-1A24-8A285D16CA2A}"/>
              </a:ext>
            </a:extLst>
          </p:cNvPr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23"/>
          <a:stretch>
            <a:fillRect/>
          </a:stretch>
        </p:blipFill>
        <p:spPr>
          <a:xfrm>
            <a:off x="8881611" y="4920414"/>
            <a:ext cx="2186432" cy="4454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48156311"/>
      </p:ext>
    </p:extLst>
  </p:cSld>
  <p:clrMapOvr>
    <a:masterClrMapping/>
  </p:clrMapOvr>
  <p:transition>
    <p:fad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7113CCA0-3E3B-A4E3-6A84-2CF94425E60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9386663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03E38E06-614C-F5F4-4C30-35B27D20466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 err="1"/>
              <a:t>Fierz</a:t>
            </a:r>
            <a:r>
              <a:rPr lang="en-GB" dirty="0"/>
              <a:t> symmetry must be obeyed and can be implemented through the correct choice of evanescent operators.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CCD4996-2DB1-8890-BD64-DCEC8261801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Pascal Reeck – B meson mixing at NNLO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17CFFC9-913B-EA8C-90C7-34A72285EE5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76FC98F-84AD-404B-BCCB-49E092AA6DE0}" type="slidenum">
              <a:rPr lang="en-US" noProof="1" smtClean="0"/>
              <a:pPr/>
              <a:t>9</a:t>
            </a:fld>
            <a:endParaRPr lang="en-US" noProof="1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E8BC445-42A6-A98C-B676-CB7644C47C68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r>
              <a:rPr lang="de-DE" noProof="1"/>
              <a:t>08/07/2025</a:t>
            </a:r>
            <a:endParaRPr lang="en-US" noProof="1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9" name="Textplatzhalter 9">
                <a:extLst>
                  <a:ext uri="{FF2B5EF4-FFF2-40B4-BE49-F238E27FC236}">
                    <a16:creationId xmlns:a16="http://schemas.microsoft.com/office/drawing/2014/main" id="{164AB5DD-60DA-CBF6-3C62-5A080961B971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371475" y="1592263"/>
                <a:ext cx="7561263" cy="4684711"/>
              </a:xfrm>
              <a:prstGeom prst="rect">
                <a:avLst/>
              </a:prstGeom>
            </p:spPr>
            <p:txBody>
              <a:bodyPr/>
              <a:lstStyle>
                <a:lvl1pPr marL="0" indent="0" algn="l" defTabSz="914400" rtl="0" eaLnBrk="1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300"/>
                  </a:spcAft>
                  <a:buFont typeface="Arial" panose="020B0604020202020204" pitchFamily="34" charset="0"/>
                  <a:buNone/>
                  <a:defRPr sz="16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270000" indent="-270000" algn="l" defTabSz="914400" rtl="0" eaLnBrk="1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300"/>
                  </a:spcAft>
                  <a:buClr>
                    <a:schemeClr val="accent1"/>
                  </a:buClr>
                  <a:buFont typeface="Wingdings" panose="05000000000000000000" pitchFamily="2" charset="2"/>
                  <a:buChar char="§"/>
                  <a:defRPr sz="16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270000" indent="-270000" algn="l" defTabSz="914400" rtl="0" eaLnBrk="1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300"/>
                  </a:spcAft>
                  <a:buClr>
                    <a:schemeClr val="accent1"/>
                  </a:buClr>
                  <a:buFont typeface="+mj-lt"/>
                  <a:buAutoNum type="arabicPeriod"/>
                  <a:defRPr sz="16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540000" indent="-27000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Clr>
                    <a:schemeClr val="accent1"/>
                  </a:buClr>
                  <a:buFont typeface="Symbol" panose="05050102010706020507" pitchFamily="18" charset="2"/>
                  <a:buChar char="-"/>
                  <a:defRPr sz="16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540000" indent="-27000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Clr>
                    <a:schemeClr val="accent1"/>
                  </a:buClr>
                  <a:buFont typeface="+mj-lt"/>
                  <a:buAutoNum type="alphaLcPeriod"/>
                  <a:defRPr sz="16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0" indent="0" algn="l" defTabSz="914400" rtl="0" eaLnBrk="1" latinLnBrk="0" hangingPunct="1">
                  <a:lnSpc>
                    <a:spcPct val="85000"/>
                  </a:lnSpc>
                  <a:spcBef>
                    <a:spcPts val="1200"/>
                  </a:spcBef>
                  <a:spcAft>
                    <a:spcPts val="600"/>
                  </a:spcAft>
                  <a:buFont typeface="Arial" panose="020B0604020202020204" pitchFamily="34" charset="0"/>
                  <a:buNone/>
                  <a:defRPr sz="2000" b="1" kern="1200">
                    <a:solidFill>
                      <a:schemeClr val="accent1"/>
                    </a:solidFill>
                    <a:latin typeface="+mn-lt"/>
                    <a:ea typeface="+mn-ea"/>
                    <a:cs typeface="+mn-cs"/>
                  </a:defRPr>
                </a:lvl6pPr>
                <a:lvl7pPr marL="0" indent="0" algn="l" defTabSz="914400" rtl="0" eaLnBrk="1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300"/>
                  </a:spcAft>
                  <a:buFont typeface="Arial" panose="020B0604020202020204" pitchFamily="34" charset="0"/>
                  <a:buNone/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0" indent="0" algn="l" defTabSz="914400" rtl="0" eaLnBrk="1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300"/>
                  </a:spcAft>
                  <a:buFont typeface="Arial" panose="020B0604020202020204" pitchFamily="34" charset="0"/>
                  <a:buNone/>
                  <a:defRPr sz="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0" indent="0" algn="l" defTabSz="914400" rtl="0" eaLnBrk="1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300"/>
                  </a:spcAft>
                  <a:buFont typeface="Arial" panose="020B0604020202020204" pitchFamily="34" charset="0"/>
                  <a:buNone/>
                  <a:defRPr sz="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lvl="1" indent="0">
                  <a:buFont typeface="Wingdings" panose="05000000000000000000" pitchFamily="2" charset="2"/>
                  <a:buNone/>
                </a:pPr>
                <a:r>
                  <a:rPr lang="en-GB" sz="1800" b="1" dirty="0">
                    <a:solidFill>
                      <a:schemeClr val="accent1"/>
                    </a:solidFill>
                  </a:rPr>
                  <a:t>Fierz symmetry is a natural property of operator matrix elements.</a:t>
                </a:r>
              </a:p>
              <a:p>
                <a:pPr lvl="1">
                  <a:buClr>
                    <a:srgbClr val="009682"/>
                  </a:buClr>
                  <a:defRPr/>
                </a:pPr>
                <a:r>
                  <a:rPr lang="en-US" dirty="0" err="1">
                    <a:solidFill>
                      <a:srgbClr val="002D4C"/>
                    </a:solidFill>
                    <a:latin typeface="Arial"/>
                  </a:rPr>
                  <a:t>Fierz</a:t>
                </a:r>
                <a:r>
                  <a:rPr lang="en-US" dirty="0">
                    <a:solidFill>
                      <a:srgbClr val="002D4C"/>
                    </a:solidFill>
                    <a:latin typeface="Arial"/>
                  </a:rPr>
                  <a:t> symmetry holds in four dimensions, breaking it is an artefact of dimensional </a:t>
                </a:r>
                <a:r>
                  <a:rPr lang="en-US" dirty="0" err="1">
                    <a:solidFill>
                      <a:srgbClr val="002D4C"/>
                    </a:solidFill>
                    <a:latin typeface="Arial"/>
                  </a:rPr>
                  <a:t>regularisation</a:t>
                </a:r>
                <a:endParaRPr lang="en-US" dirty="0">
                  <a:solidFill>
                    <a:srgbClr val="002D4C"/>
                  </a:solidFill>
                  <a:latin typeface="Arial"/>
                </a:endParaRPr>
              </a:p>
              <a:p>
                <a:pPr lvl="1">
                  <a:buClr>
                    <a:srgbClr val="009682"/>
                  </a:buClr>
                  <a:defRPr/>
                </a:pPr>
                <a:r>
                  <a:rPr lang="en-US" dirty="0">
                    <a:solidFill>
                      <a:srgbClr val="002D4C"/>
                    </a:solidFill>
                    <a:latin typeface="Arial"/>
                  </a:rPr>
                  <a:t>Non-perturbative hadronic matrix elements are calculated in four dimensions, and we need to be consistent</a:t>
                </a:r>
              </a:p>
              <a:p>
                <a:pPr marL="0" lvl="1" indent="0">
                  <a:buClr>
                    <a:srgbClr val="009682"/>
                  </a:buClr>
                  <a:buNone/>
                  <a:defRPr/>
                </a:pPr>
                <a:endParaRPr lang="en-GB" dirty="0"/>
              </a:p>
              <a:p>
                <a:pPr marL="0" lvl="1" indent="0">
                  <a:buNone/>
                </a:pPr>
                <a:r>
                  <a:rPr lang="en-GB" sz="1800" b="1" dirty="0">
                    <a:solidFill>
                      <a:schemeClr val="accent1"/>
                    </a:solidFill>
                  </a:rPr>
                  <a:t>The Vacuum Insertion Approximation gives further motivation.</a:t>
                </a:r>
              </a:p>
              <a:p>
                <a:pPr lvl="1">
                  <a:buClr>
                    <a:srgbClr val="009682"/>
                  </a:buClr>
                  <a:defRPr/>
                </a:pPr>
                <a:r>
                  <a:rPr lang="en-US" dirty="0">
                    <a:solidFill>
                      <a:srgbClr val="002D4C"/>
                    </a:solidFill>
                  </a:rPr>
                  <a:t>Using VIA, </a:t>
                </a:r>
                <a14:m>
                  <m:oMath xmlns:m="http://schemas.openxmlformats.org/officeDocument/2006/math">
                    <m:r>
                      <m:rPr>
                        <m:sty m:val="p"/>
                      </m:rPr>
                      <a:rPr lang="en-US" b="0" i="0" smtClean="0">
                        <a:solidFill>
                          <a:srgbClr val="002D4C"/>
                        </a:solidFill>
                        <a:latin typeface="Cambria Math" panose="02040503050406030204" pitchFamily="18" charset="0"/>
                      </a:rPr>
                      <m:t>Δ</m:t>
                    </m:r>
                    <m:r>
                      <a:rPr lang="en-US" b="0" i="1" smtClean="0">
                        <a:solidFill>
                          <a:srgbClr val="002D4C"/>
                        </a:solidFill>
                        <a:latin typeface="Cambria Math" panose="02040503050406030204" pitchFamily="18" charset="0"/>
                      </a:rPr>
                      <m:t>𝐵</m:t>
                    </m:r>
                    <m:r>
                      <a:rPr lang="en-US" b="0" i="1" smtClean="0">
                        <a:solidFill>
                          <a:srgbClr val="002D4C"/>
                        </a:solidFill>
                        <a:latin typeface="Cambria Math" panose="02040503050406030204" pitchFamily="18" charset="0"/>
                      </a:rPr>
                      <m:t>=2</m:t>
                    </m:r>
                  </m:oMath>
                </a14:m>
                <a:r>
                  <a:rPr lang="en-GB" dirty="0"/>
                  <a:t> matrix elements can be calculated exactly in the limit  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𝑁</m:t>
                        </m:r>
                      </m:e>
                      <m:sub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𝑐</m:t>
                        </m:r>
                      </m:sub>
                    </m:sSub>
                    <m:r>
                      <a:rPr lang="en-US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⟶</m:t>
                    </m:r>
                    <m:r>
                      <a:rPr lang="en-US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∞</m:t>
                    </m:r>
                  </m:oMath>
                </a14:m>
                <a:r>
                  <a:rPr lang="en-GB" dirty="0"/>
                  <a:t>: </a:t>
                </a:r>
              </a:p>
              <a:p>
                <a:pPr marL="0" lvl="1" indent="0">
                  <a:buClr>
                    <a:srgbClr val="009682"/>
                  </a:buClr>
                  <a:buNone/>
                  <a:defRPr/>
                </a:pPr>
                <a:endParaRPr lang="en-GB" dirty="0"/>
              </a:p>
              <a:p>
                <a:pPr marL="0" lvl="1" indent="0">
                  <a:buClr>
                    <a:srgbClr val="009682"/>
                  </a:buClr>
                  <a:buNone/>
                  <a:defRPr/>
                </a:pPr>
                <a:endParaRPr lang="en-GB" dirty="0"/>
              </a:p>
              <a:p>
                <a:pPr marL="0" lvl="1" indent="0">
                  <a:buClr>
                    <a:srgbClr val="009682"/>
                  </a:buClr>
                  <a:buNone/>
                  <a:defRPr/>
                </a:pPr>
                <a:endParaRPr lang="en-GB" dirty="0"/>
              </a:p>
              <a:p>
                <a:pPr marL="0" lvl="1" indent="0">
                  <a:buClr>
                    <a:srgbClr val="009682"/>
                  </a:buClr>
                  <a:buNone/>
                  <a:defRPr/>
                </a:pPr>
                <a:endParaRPr lang="en-GB" dirty="0"/>
              </a:p>
              <a:p>
                <a:pPr lvl="1">
                  <a:buClr>
                    <a:srgbClr val="009682"/>
                  </a:buClr>
                  <a:defRPr/>
                </a:pPr>
                <a:r>
                  <a:rPr lang="en-GB" dirty="0"/>
                  <a:t>VIA requires a </a:t>
                </a:r>
                <a:r>
                  <a:rPr lang="en-GB" dirty="0" err="1"/>
                  <a:t>Fierz</a:t>
                </a:r>
                <a:r>
                  <a:rPr lang="en-GB" dirty="0"/>
                  <a:t> transformation to be valid</a:t>
                </a:r>
              </a:p>
            </p:txBody>
          </p:sp>
        </mc:Choice>
        <mc:Fallback xmlns="">
          <p:sp>
            <p:nvSpPr>
              <p:cNvPr id="19" name="Textplatzhalter 9">
                <a:extLst>
                  <a:ext uri="{FF2B5EF4-FFF2-40B4-BE49-F238E27FC236}">
                    <a16:creationId xmlns:a16="http://schemas.microsoft.com/office/drawing/2014/main" id="{164AB5DD-60DA-CBF6-3C62-5A080961B971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71475" y="1592263"/>
                <a:ext cx="7561263" cy="4684711"/>
              </a:xfrm>
              <a:prstGeom prst="rect">
                <a:avLst/>
              </a:prstGeom>
              <a:blipFill>
                <a:blip r:embed="rId7"/>
                <a:stretch>
                  <a:fillRect l="-671" t="-541"/>
                </a:stretch>
              </a:blipFill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  <p:grpSp>
        <p:nvGrpSpPr>
          <p:cNvPr id="8" name="Group 7">
            <a:extLst>
              <a:ext uri="{FF2B5EF4-FFF2-40B4-BE49-F238E27FC236}">
                <a16:creationId xmlns:a16="http://schemas.microsoft.com/office/drawing/2014/main" id="{352241CE-7DE7-5F71-031E-36183BC303E6}"/>
              </a:ext>
            </a:extLst>
          </p:cNvPr>
          <p:cNvGrpSpPr/>
          <p:nvPr/>
        </p:nvGrpSpPr>
        <p:grpSpPr>
          <a:xfrm>
            <a:off x="8204617" y="1592263"/>
            <a:ext cx="385486" cy="4681537"/>
            <a:chOff x="8204617" y="1592263"/>
            <a:chExt cx="385486" cy="4681537"/>
          </a:xfrm>
        </p:grpSpPr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B7EEA4BC-D9B4-8FDE-FAA7-22C66AA5A513}"/>
                </a:ext>
              </a:extLst>
            </p:cNvPr>
            <p:cNvCxnSpPr/>
            <p:nvPr/>
          </p:nvCxnSpPr>
          <p:spPr bwMode="gray">
            <a:xfrm>
              <a:off x="8374203" y="1592263"/>
              <a:ext cx="0" cy="4681537"/>
            </a:xfrm>
            <a:prstGeom prst="line">
              <a:avLst/>
            </a:prstGeom>
            <a:ln w="28575"/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sp>
          <p:nvSpPr>
            <p:cNvPr id="22" name="Triangle 21">
              <a:extLst>
                <a:ext uri="{FF2B5EF4-FFF2-40B4-BE49-F238E27FC236}">
                  <a16:creationId xmlns:a16="http://schemas.microsoft.com/office/drawing/2014/main" id="{64E64B8F-9979-6F2F-1088-2C8260AC98B7}"/>
                </a:ext>
              </a:extLst>
            </p:cNvPr>
            <p:cNvSpPr/>
            <p:nvPr/>
          </p:nvSpPr>
          <p:spPr bwMode="gray">
            <a:xfrm rot="5400000">
              <a:off x="7928447" y="3631545"/>
              <a:ext cx="937826" cy="385486"/>
            </a:xfrm>
            <a:prstGeom prst="triangle">
              <a:avLst/>
            </a:prstGeom>
            <a:ln w="28575"/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wrap="square" lIns="144000" tIns="144000" rIns="144000" bIns="144000" rtlCol="0" anchor="ctr"/>
            <a:lstStyle/>
            <a:p>
              <a:pPr algn="ctr"/>
              <a:endParaRPr lang="en-GB" sz="1400" b="1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7" name="Group 6">
            <a:extLst>
              <a:ext uri="{FF2B5EF4-FFF2-40B4-BE49-F238E27FC236}">
                <a16:creationId xmlns:a16="http://schemas.microsoft.com/office/drawing/2014/main" id="{3F1478B8-7F61-DC93-0B73-CC0E7386D90E}"/>
              </a:ext>
            </a:extLst>
          </p:cNvPr>
          <p:cNvGrpSpPr/>
          <p:nvPr/>
        </p:nvGrpSpPr>
        <p:grpSpPr>
          <a:xfrm>
            <a:off x="8759687" y="2137321"/>
            <a:ext cx="3060838" cy="3343688"/>
            <a:chOff x="8759687" y="2137321"/>
            <a:chExt cx="3060838" cy="3343688"/>
          </a:xfrm>
        </p:grpSpPr>
        <mc:AlternateContent xmlns:mc="http://schemas.openxmlformats.org/markup-compatibility/2006">
          <mc:Choice xmlns:a14="http://schemas.microsoft.com/office/drawing/2010/main" Requires="a14">
            <p:sp>
              <p:nvSpPr>
                <p:cNvPr id="23" name="Rectangle 22">
                  <a:extLst>
                    <a:ext uri="{FF2B5EF4-FFF2-40B4-BE49-F238E27FC236}">
                      <a16:creationId xmlns:a16="http://schemas.microsoft.com/office/drawing/2014/main" id="{C775DD73-7E24-0C4D-AE2F-D293A7B00EF2}"/>
                    </a:ext>
                  </a:extLst>
                </p:cNvPr>
                <p:cNvSpPr/>
                <p:nvPr/>
              </p:nvSpPr>
              <p:spPr bwMode="gray">
                <a:xfrm>
                  <a:off x="8759688" y="2137321"/>
                  <a:ext cx="3060837" cy="3343688"/>
                </a:xfrm>
                <a:prstGeom prst="rect">
                  <a:avLst/>
                </a:prstGeom>
                <a:ln/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dk1"/>
                </a:lnRef>
                <a:fillRef idx="1">
                  <a:schemeClr val="lt1"/>
                </a:fillRef>
                <a:effectRef idx="0">
                  <a:schemeClr val="dk1"/>
                </a:effectRef>
                <a:fontRef idx="minor">
                  <a:schemeClr val="dk1"/>
                </a:fontRef>
              </p:style>
              <p:txBody>
                <a:bodyPr wrap="square" lIns="144000" tIns="144000" rIns="144000" bIns="144000" rtlCol="0" anchor="t"/>
                <a:lstStyle/>
                <a:p>
                  <a:r>
                    <a:rPr lang="en-GB" b="1" dirty="0">
                      <a:solidFill>
                        <a:schemeClr val="tx1"/>
                      </a:solidFill>
                    </a:rPr>
                    <a:t>The operator definitions are obtained from three constraints.</a:t>
                  </a:r>
                </a:p>
                <a:p>
                  <a:endParaRPr lang="en-GB" b="1" dirty="0">
                    <a:solidFill>
                      <a:schemeClr val="tx1"/>
                    </a:solidFill>
                  </a:endParaRPr>
                </a:p>
                <a:p>
                  <a:pPr marL="342900" indent="-342900">
                    <a:buFont typeface="+mj-lt"/>
                    <a:buAutoNum type="arabicPeriod"/>
                  </a:pPr>
                  <a:r>
                    <a:rPr lang="en-GB" sz="1600" dirty="0">
                      <a:solidFill>
                        <a:schemeClr val="tx1"/>
                      </a:solidFill>
                    </a:rPr>
                    <a:t>Renormalised matrix elements are </a:t>
                  </a:r>
                  <a:r>
                    <a:rPr lang="en-GB" sz="1600" dirty="0" err="1">
                      <a:solidFill>
                        <a:schemeClr val="tx1"/>
                      </a:solidFill>
                    </a:rPr>
                    <a:t>Fierz</a:t>
                  </a:r>
                  <a:r>
                    <a:rPr lang="en-GB" sz="1600" dirty="0">
                      <a:solidFill>
                        <a:schemeClr val="tx1"/>
                      </a:solidFill>
                    </a:rPr>
                    <a:t>-invariant.</a:t>
                  </a:r>
                </a:p>
                <a:p>
                  <a:pPr marL="342900" indent="-342900">
                    <a:buFont typeface="+mj-lt"/>
                    <a:buAutoNum type="arabicPeriod"/>
                  </a:pPr>
                  <a:r>
                    <a:rPr lang="en-GB" sz="1600" dirty="0">
                      <a:solidFill>
                        <a:schemeClr val="tx1"/>
                      </a:solidFill>
                    </a:rPr>
                    <a:t>Operators are independent of the flavours </a:t>
                  </a:r>
                  <a14:m>
                    <m:oMath xmlns:m="http://schemas.openxmlformats.org/officeDocument/2006/math">
                      <m:sSub>
                        <m:sSubPr>
                          <m:ctrlPr>
                            <a:rPr lang="en-US" sz="16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16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𝑁</m:t>
                          </m:r>
                        </m:e>
                        <m:sub>
                          <m:r>
                            <a:rPr lang="en-US" sz="16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</m:sSub>
                    </m:oMath>
                  </a14:m>
                  <a:r>
                    <a:rPr lang="en-GB" sz="1600" dirty="0">
                      <a:solidFill>
                        <a:schemeClr val="tx1"/>
                      </a:solidFill>
                    </a:rPr>
                    <a:t>.</a:t>
                  </a:r>
                </a:p>
                <a:p>
                  <a:pPr marL="342900" indent="-342900">
                    <a:buFont typeface="+mj-lt"/>
                    <a:buAutoNum type="arabicPeriod"/>
                  </a:pPr>
                  <a:r>
                    <a:rPr lang="en-GB" sz="1600" dirty="0">
                      <a:solidFill>
                        <a:schemeClr val="tx1"/>
                      </a:solidFill>
                    </a:rPr>
                    <a:t>The large </a:t>
                  </a:r>
                  <a14:m>
                    <m:oMath xmlns:m="http://schemas.openxmlformats.org/officeDocument/2006/math">
                      <m:sSub>
                        <m:sSubPr>
                          <m:ctrlPr>
                            <a:rPr lang="en-US" sz="16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16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𝑁</m:t>
                          </m:r>
                        </m:e>
                        <m:sub>
                          <m:r>
                            <a:rPr lang="en-US" sz="16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𝑐</m:t>
                          </m:r>
                        </m:sub>
                      </m:sSub>
                    </m:oMath>
                  </a14:m>
                  <a:r>
                    <a:rPr lang="en-GB" sz="1600" dirty="0">
                      <a:solidFill>
                        <a:schemeClr val="tx1"/>
                      </a:solidFill>
                    </a:rPr>
                    <a:t> limit is uniquely determined and </a:t>
                  </a:r>
                  <a14:m>
                    <m:oMath xmlns:m="http://schemas.openxmlformats.org/officeDocument/2006/math">
                      <m:r>
                        <a:rPr lang="el-GR" sz="1600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𝒪</m:t>
                      </m:r>
                      <m:r>
                        <a:rPr lang="en-US" sz="1600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(</m:t>
                      </m:r>
                      <m:sSubSup>
                        <m:sSubSupPr>
                          <m:ctrlPr>
                            <a:rPr lang="en-US" sz="16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6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𝑁</m:t>
                          </m:r>
                        </m:e>
                        <m:sub>
                          <m:r>
                            <a:rPr lang="en-US" sz="16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𝑐</m:t>
                          </m:r>
                        </m:sub>
                        <m:sup>
                          <m:r>
                            <a:rPr lang="en-US" sz="16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bSup>
                      <m:r>
                        <a:rPr lang="en-US" sz="1600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)</m:t>
                      </m:r>
                    </m:oMath>
                  </a14:m>
                  <a:r>
                    <a:rPr lang="en-GB" sz="1600" dirty="0">
                      <a:solidFill>
                        <a:schemeClr val="tx1"/>
                      </a:solidFill>
                    </a:rPr>
                    <a:t>.</a:t>
                  </a:r>
                </a:p>
              </p:txBody>
            </p:sp>
          </mc:Choice>
          <mc:Fallback>
            <p:sp>
              <p:nvSpPr>
                <p:cNvPr id="23" name="Rectangle 22">
                  <a:extLst>
                    <a:ext uri="{FF2B5EF4-FFF2-40B4-BE49-F238E27FC236}">
                      <a16:creationId xmlns:a16="http://schemas.microsoft.com/office/drawing/2014/main" id="{C775DD73-7E24-0C4D-AE2F-D293A7B00EF2}"/>
                    </a:ext>
                  </a:extLst>
                </p:cNvPr>
                <p:cNvSpPr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 bwMode="gray">
                <a:xfrm>
                  <a:off x="8759688" y="2137321"/>
                  <a:ext cx="3060837" cy="3343688"/>
                </a:xfrm>
                <a:prstGeom prst="rect">
                  <a:avLst/>
                </a:prstGeom>
                <a:blipFill>
                  <a:blip r:embed="rId8"/>
                  <a:stretch>
                    <a:fillRect/>
                  </a:stretch>
                </a:blipFill>
                <a:ln/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txBody>
                <a:bodyPr/>
                <a:lstStyle/>
                <a:p>
                  <a:r>
                    <a:rPr lang="en-GB">
                      <a:noFill/>
                    </a:rPr>
                    <a:t> </a:t>
                  </a:r>
                </a:p>
              </p:txBody>
            </p:sp>
          </mc:Fallback>
        </mc:AlternateContent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CBED6622-6DFB-3646-924C-F7DEB3D42A06}"/>
                </a:ext>
              </a:extLst>
            </p:cNvPr>
            <p:cNvSpPr/>
            <p:nvPr/>
          </p:nvSpPr>
          <p:spPr bwMode="gray">
            <a:xfrm>
              <a:off x="8759687" y="2137321"/>
              <a:ext cx="3060837" cy="1134737"/>
            </a:xfrm>
            <a:prstGeom prst="rect">
              <a:avLst/>
            </a:prstGeom>
            <a:solidFill>
              <a:schemeClr val="tx1"/>
            </a:solidFill>
            <a:ln w="3175">
              <a:solidFill>
                <a:schemeClr val="tx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144000" tIns="144000" rIns="144000" bIns="144000" rtlCol="0" anchor="t"/>
            <a:lstStyle/>
            <a:p>
              <a:r>
                <a:rPr lang="en-GB" b="1" dirty="0">
                  <a:solidFill>
                    <a:schemeClr val="bg1"/>
                  </a:solidFill>
                </a:rPr>
                <a:t>The operator definitions are obtained from three constraints.</a:t>
              </a:r>
            </a:p>
          </p:txBody>
        </p:sp>
      </p:grpSp>
      <p:pic>
        <p:nvPicPr>
          <p:cNvPr id="38" name="Picture 37" descr="\documentclass{article}&#10;\usepackage{amsmath}&#10;\usepackage{braket}&#10;\usepackage{xcolor}&#10;\pagestyle{empty}&#10;\begin{document}&#10;&#10;\definecolor{KITblue}{RGB}{0, 45, 76}&#10;\definecolor{KITlightblue}{RGB}{35, 161, 224}&#10;\definecolor{KITpurple}{RGB}{163, 16, 124}&#10;&#10;\begin{align*}&#10;\color{KITblue}&#10; \bra{B_s} \widetilde Q_S (\mu_2) \ket{\bar B_s} &#10; &amp;&#10;\color{KITblue} \overset{\rm VIA}{=} \left( \frac{2}{N_c} - 1 \right)  \bra{B_s} \bar s \gamma_5 b \ket{0} \bra{0} &#10;  \bar s \gamma_5 b \ket{\bar B_s}\\&#10;  &amp;&#10;\color{KITblue} \overset{\phantom{\rm VIA}}{=} \left( 1- \frac{2}{N_c} \right) \frac{f_{B_s}^2 M_{B_s}^4}{\left[ m_b(\mu_2) +m_s(\mu_2)\right]^2}&#10;\end{align*}&#10;&#10;&#10;\end{document}" title="IguanaTex Picture Display">
            <a:extLst>
              <a:ext uri="{FF2B5EF4-FFF2-40B4-BE49-F238E27FC236}">
                <a16:creationId xmlns:a16="http://schemas.microsoft.com/office/drawing/2014/main" id="{EBB6E35A-51E4-E970-1BCF-D5F138D0FC6C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9"/>
          <a:stretch>
            <a:fillRect/>
          </a:stretch>
        </p:blipFill>
        <p:spPr>
          <a:xfrm>
            <a:off x="1677129" y="4373977"/>
            <a:ext cx="4949952" cy="11070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55807285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8224&quot;&gt;&lt;version val=&quot;35667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/%m/%Y&lt;/m_strFormatTime&gt;&lt;m_yearfmt&gt;&lt;begin val=&quot;0&quot;/&gt;&lt;end val=&quot;0&quot;/&gt;&lt;/m_yearfmt&gt;&lt;/m_precDefaultDate&gt;&lt;m_precDefaultDay&gt;&lt;m_yearfmt&gt;&lt;begin val=&quot;0&quot;/&gt;&lt;end val=&quot;4&quot;/&gt;&lt;/m_yearfmt&gt;&lt;/m_precDefaultDay&gt;&lt;m_precDefaultWeek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yearfmt&gt;&lt;begin val=&quot;0&quot;/&gt;&lt;end val=&quot;4&quot;/&gt;&lt;/m_yearfmt&gt;&lt;/m_precDefaultQuarter&gt;&lt;m_precDefaultYear&gt;&lt;m_yearfmt&gt;&lt;begin val=&quot;0&quot;/&gt;&lt;end val=&quot;4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2&quot;/&gt;&lt;m_eweekdayFirstOfWorkweek val=&quot;2&quot;/&gt;&lt;m_eweekdayFirstOfWeekend val=&quot;7&quot;/&gt;&lt;/CPresentation&gt;&lt;/root&gt;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248"/>
  <p:tag name="ORIGINALWIDTH" val=" 1867"/>
  <p:tag name="OUTPUTTYPE" val="PNG"/>
  <p:tag name="IGUANATEXVERSION" val="162"/>
  <p:tag name="LATEXADDIN" val="\documentclass{article}&#10;\usepackage{amsmath}&#10;\usepackage{xcolor}&#10;\pagestyle{empty}&#10;\begin{document}&#10;&#10;\definecolor{KITblue}{RGB}{0, 45, 76}&#10;&#10;\begin{equation*}&#10;\color{KITblue}&#10;\lvert B_q^0(t) \rangle = g_+(t) \lvert B^0_q \rangle +  g_-(t) \frac{q}{p} \lvert \bar{B^0}_q \rangle&#10;\end{equation*}&#10;&#10;&#10;\end{document}"/>
  <p:tag name="IGUANATEXSIZE" val="16"/>
  <p:tag name="IGUANATEXCURSOR" val="250"/>
  <p:tag name="TRANSPARENCY" val="True"/>
  <p:tag name="CHOOSECOLOR" val="False"/>
  <p:tag name="COLORHEX" val="000000"/>
  <p:tag name="LATEXENGINEID" val="0"/>
  <p:tag name="TEMPFOLDER" val="/Users/Pascal/Library/Containers/com.microsoft.Powerpoint/Data/tmp/TemporaryItems/"/>
  <p:tag name="LATEXFORMHEIGHT" val=" 426.65"/>
  <p:tag name="LATEXFORMWIDTH" val=" 513.35"/>
  <p:tag name="LATEXFORMWRAP" val="True"/>
  <p:tag name="BITMAPVECTOR" val="0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306"/>
  <p:tag name="ORIGINALWIDTH" val=" 2370"/>
  <p:tag name="OUTPUTTYPE" val="PNG"/>
  <p:tag name="IGUANATEXVERSION" val="162"/>
  <p:tag name="LATEXADDIN" val="\documentclass{article}&#10;\usepackage{amsmath}&#10;\usepackage{xcolor}&#10;\pagestyle{empty}&#10;\begin{document}&#10;&#10;\definecolor{KITblue}{RGB}{0, 45, 76}&#10;&#10;\begin{equation*}&#10;\color{KITblue}&#10;\lvert g_\pm (t) \rvert^2 = \frac{e^{-\Gamma t}}{2} \left[ \text{cosh}\left(\frac{\Delta \Gamma t}{2}\right) \pm \text{cos}\left(\Delta M t\right ) \right]&#10;\end{equation*}&#10;&#10;&#10;\end{document}"/>
  <p:tag name="IGUANATEXSIZE" val="16"/>
  <p:tag name="IGUANATEXCURSOR" val="231"/>
  <p:tag name="TRANSPARENCY" val="True"/>
  <p:tag name="CHOOSECOLOR" val="False"/>
  <p:tag name="COLORHEX" val="000000"/>
  <p:tag name="LATEXENGINEID" val="0"/>
  <p:tag name="TEMPFOLDER" val="/Users/Pascal/Library/Containers/com.microsoft.Powerpoint/Data/tmp/TemporaryItems/"/>
  <p:tag name="LATEXFORMHEIGHT" val=" 426.65"/>
  <p:tag name="LATEXFORMWIDTH" val=" 513.35"/>
  <p:tag name="LATEXFORMWRAP" val="True"/>
  <p:tag name="BITMAPVECTOR" val="0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e0mhIFwpgyv1DTwqZwNr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TSs2GlJlHbmPyY.Uao04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OoCRC3McCYzY0NfvAwum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uKE5yZqQ6m.PgaiL6X.s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G9hQBhj333DBuD5eeQyi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fV9jQzC4pjgB9tFNBMwh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3qWtSpEbddBxTqiwh8TL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Gh4r25dLYWtgNl9S0cd6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UoNUuLxaiVcCMHRN6yeg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tiMG3m38A2fWKCn.Bw5o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wWme1fEm_X4x0HB0msUa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92y.TKDAdwufl.6iW4sf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310"/>
  <p:tag name="ORIGINALWIDTH" val=" 2580"/>
  <p:tag name="OUTPUTTYPE" val="PNG"/>
  <p:tag name="IGUANATEXVERSION" val="162"/>
  <p:tag name="LATEXADDIN" val="\documentclass{article}&#10;\usepackage{amsmath}&#10;\usepackage{xcolor}&#10;\pagestyle{empty}&#10;\begin{document}&#10;&#10;\definecolor{KITblue}{RGB}{0, 45, 76}&#10;\definecolor{KITlightblue}{RGB}{35, 161, 224}&#10;\definecolor{KITpurple}{RGB}{163, 16, 124}&#10;&#10;\begin{equation*}&#10;\color{KITblue}&#10;\Delta \Gamma \propto  \sum_{\alpha,\beta} \lambda_\alpha \lambda_\beta \left[ \color{KITpurple} \mathbf{H^{\alpha\beta}} \color{KITblue} \langle B\rvert Q \lvert \bar{B} \rangle + \color{KITpurple} \mathbf{\tilde{H}^{\alpha\beta}_S} \color{KITblue}  \langle B\rvert \tilde{Q}_S \lvert \bar{B} \rangle \right]&#10;\end{equation*}&#10;&#10;&#10;\end{document}"/>
  <p:tag name="IGUANATEXSIZE" val="16"/>
  <p:tag name="IGUANATEXCURSOR" val="496"/>
  <p:tag name="TRANSPARENCY" val="True"/>
  <p:tag name="CHOOSECOLOR" val="False"/>
  <p:tag name="COLORHEX" val="000000"/>
  <p:tag name="LATEXENGINEID" val="0"/>
  <p:tag name="TEMPFOLDER" val="/Users/Pascal/Library/Containers/com.microsoft.Powerpoint/Data/tmp/TemporaryItems/"/>
  <p:tag name="LATEXFORMHEIGHT" val=" 426.65"/>
  <p:tag name="LATEXFORMWIDTH" val=" 513.35"/>
  <p:tag name="LATEXFORMWRAP" val="True"/>
  <p:tag name="BITMAPVECTOR" val="0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348"/>
  <p:tag name="ORIGINALWIDTH" val=" 2189"/>
  <p:tag name="OUTPUTTYPE" val="PNG"/>
  <p:tag name="IGUANATEXVERSION" val="162"/>
  <p:tag name="LATEXADDIN" val="\documentclass{article}&#10;\usepackage{amsmath}&#10;\usepackage{xcolor}&#10;\pagestyle{empty}&#10;\begin{document}&#10;&#10;\definecolor{KITblue}{RGB}{0, 45, 76}&#10;\definecolor{KITlightblue}{RGB}{35, 161, 224}&#10;\definecolor{KITpurple}{RGB}{163, 16, 124}&#10;&#10;\begin{align*}&#10;\color{KITblue}&#10;\langle P_2 \rangle^{(1)} &amp; \color{KITblue} \sim (\bar{s} \gamma^{\mu_1} \gamma^{\mu_2} \gamma^{\mu_3} c_L)\, (\bar{c} \gamma_{\mu_1} \gamma_{\mu_2} \gamma_{\mu_3} b_L)\\&#10;&amp; \color{KITblue} \sim 16 \langle P_2 \rangle^\text{tree} + \langle E_2 \rangle^\text{tree}&#10;\end{align*}&#10;&#10;&#10;\end{document}"/>
  <p:tag name="IGUANATEXSIZE" val="16"/>
  <p:tag name="IGUANATEXCURSOR" val="401"/>
  <p:tag name="TRANSPARENCY" val="True"/>
  <p:tag name="CHOOSECOLOR" val="False"/>
  <p:tag name="COLORHEX" val="000000"/>
  <p:tag name="LATEXENGINEID" val="0"/>
  <p:tag name="TEMPFOLDER" val="/Users/Pascal/Library/Containers/com.microsoft.Powerpoint/Data/tmp/TemporaryItems/"/>
  <p:tag name="LATEXFORMHEIGHT" val=" 426.65"/>
  <p:tag name="LATEXFORMWIDTH" val=" 513.35"/>
  <p:tag name="LATEXFORMWRAP" val="True"/>
  <p:tag name="BITMAPVECTOR" val="0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299"/>
  <p:tag name="ORIGINALWIDTH" val=" 2110"/>
  <p:tag name="OUTPUTTYPE" val="PNG"/>
  <p:tag name="IGUANATEXVERSION" val="162"/>
  <p:tag name="LATEXADDIN" val="\documentclass{article}&#10;\usepackage{amsmath}&#10;\usepackage{xcolor}&#10;\pagestyle{empty}&#10;\begin{document}&#10;&#10;\definecolor{KITblue}{RGB}{0, 45, 76}&#10;\definecolor{KITlightblue}{RGB}{35, 161, 224}&#10;\definecolor{KITpurple}{RGB}{163, 16, 124}&#10;&#10;\begin{equation*}&#10;\color{KITblue}&#10;\begin{pmatrix} \vec{C}_P^0 &amp; \vec{C}_E^0 \end{pmatrix} = \begin{pmatrix} \vec{C}_P &amp; \vec{C}_E \end{pmatrix} \begin{pmatrix} Z_{PP} &amp; Z_{PE}\\ Z_{EP} &amp; Z_{EE} \end{pmatrix}&#10;\end{equation*}&#10;&#10;&#10;\end{document}"/>
  <p:tag name="IGUANATEXSIZE" val="16"/>
  <p:tag name="IGUANATEXCURSOR" val="262"/>
  <p:tag name="TRANSPARENCY" val="True"/>
  <p:tag name="CHOOSECOLOR" val="False"/>
  <p:tag name="COLORHEX" val="000000"/>
  <p:tag name="LATEXENGINEID" val="0"/>
  <p:tag name="TEMPFOLDER" val="/Users/Pascal/Library/Containers/com.microsoft.Powerpoint/Data/tmp/TemporaryItems/"/>
  <p:tag name="LATEXFORMHEIGHT" val=" 426.65"/>
  <p:tag name="LATEXFORMWIDTH" val=" 513.35"/>
  <p:tag name="LATEXFORMWRAP" val="True"/>
  <p:tag name="BITMAPVECTOR" val="0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66"/>
  <p:tag name="ORIGINALWIDTH" val=" 1320"/>
  <p:tag name="OUTPUTTYPE" val="PNG"/>
  <p:tag name="IGUANATEXVERSION" val="162"/>
  <p:tag name="LATEXADDIN" val="\documentclass{article}&#10;\usepackage{amsmath}&#10;\usepackage{xcolor}&#10;\pagestyle{empty}&#10;\begin{document}&#10;&#10;\definecolor{KITblue}{RGB}{0, 45, 76}&#10;\definecolor{KITlightblue}{RGB}{35, 161, 224}&#10;\definecolor{KITpurple}{RGB}{163, 16, 124}&#10;&#10;\begin{equation*}&#10;\color{KITblue}&#10;Z_{EP} = \alpha_s Z_{EP}^{(1,0)} + \mathcal{O}(\alpha_s^2)&#10;\end{equation*}&#10;&#10;&#10;\end{document}"/>
  <p:tag name="IGUANATEXSIZE" val="16"/>
  <p:tag name="IGUANATEXCURSOR" val="321"/>
  <p:tag name="TRANSPARENCY" val="True"/>
  <p:tag name="CHOOSECOLOR" val="False"/>
  <p:tag name="COLORHEX" val="000000"/>
  <p:tag name="LATEXENGINEID" val="0"/>
  <p:tag name="TEMPFOLDER" val="/Users/Pascal/Library/Containers/com.microsoft.Powerpoint/Data/tmp/TemporaryItems/"/>
  <p:tag name="LATEXFORMHEIGHT" val=" 426.65"/>
  <p:tag name="LATEXFORMWIDTH" val=" 513.35"/>
  <p:tag name="LATEXFORMWRAP" val="True"/>
  <p:tag name="BITMAPVECTOR" val="0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225"/>
  <p:tag name="ORIGINALWIDTH" val=" 1350"/>
  <p:tag name="OUTPUTTYPE" val="PNG"/>
  <p:tag name="IGUANATEXVERSION" val="162"/>
  <p:tag name="LATEXADDIN" val="\documentclass{article}&#10;\usepackage{amsmath}&#10;\usepackage{xcolor}&#10;\pagestyle{empty}&#10;\begin{document}&#10;&#10;\definecolor{KITblue}{RGB}{0, 45, 76}&#10;\definecolor{KITlightblue}{RGB}{35, 161, 224}&#10;\definecolor{KITpurple}{RGB}{163, 16, 124}&#10;&#10;\begin{equation*}&#10;\color{KITblue}&#10;Z_{PE} = \frac{\alpha_s }{\epsilon} Z_{PE}^{(1,1)} + \mathcal{O}(\alpha_s^2)&#10;\end{equation*}&#10;&#10;&#10;\end{document}"/>
  <p:tag name="IGUANATEXSIZE" val="16"/>
  <p:tag name="IGUANATEXCURSOR" val="287"/>
  <p:tag name="TRANSPARENCY" val="True"/>
  <p:tag name="CHOOSECOLOR" val="False"/>
  <p:tag name="COLORHEX" val="000000"/>
  <p:tag name="LATEXENGINEID" val="0"/>
  <p:tag name="TEMPFOLDER" val="/Users/Pascal/Library/Containers/com.microsoft.Powerpoint/Data/tmp/TemporaryItems/"/>
  <p:tag name="LATEXFORMHEIGHT" val=" 426.65"/>
  <p:tag name="LATEXFORMWIDTH" val=" 513.35"/>
  <p:tag name="LATEXFORMWRAP" val="True"/>
  <p:tag name="BITMAPVECTOR" val="0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274"/>
  <p:tag name="ORIGINALWIDTH" val=" 1345"/>
  <p:tag name="OUTPUTTYPE" val="PNG"/>
  <p:tag name="IGUANATEXVERSION" val="162"/>
  <p:tag name="LATEXADDIN" val="\documentclass{article}&#10;\usepackage{amsmath}&#10;\usepackage{xcolor}&#10;\pagestyle{empty}&#10;\begin{document}&#10;&#10;\definecolor{KITblue}{RGB}{0, 45, 76}&#10;\definecolor{KITlightblue}{RGB}{35, 161, 224}&#10;\definecolor{KITpurple}{RGB}{163, 16, 124}&#10;&#10;\begin{equation*}&#10;\color{KITblue}&#10;H_E \langle E \rangle^{(2)} \supset H_E \frac{\alpha_s^2}{\epsilon} \langle Q \rangle^{(0)}&#10;\end{equation*}&#10;&#10;&#10;\end{document}"/>
  <p:tag name="IGUANATEXSIZE" val="16"/>
  <p:tag name="IGUANATEXCURSOR" val="288"/>
  <p:tag name="TRANSPARENCY" val="True"/>
  <p:tag name="CHOOSECOLOR" val="False"/>
  <p:tag name="COLORHEX" val="000000"/>
  <p:tag name="LATEXENGINEID" val="0"/>
  <p:tag name="TEMPFOLDER" val="/Users/Pascal/Library/Containers/com.microsoft.Powerpoint/Data/tmp/TemporaryItems/"/>
  <p:tag name="LATEXFORMHEIGHT" val=" 426.65"/>
  <p:tag name="LATEXFORMWIDTH" val=" 513.35"/>
  <p:tag name="LATEXFORMWRAP" val="True"/>
  <p:tag name="BITMAPVECTOR" val="0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62"/>
  <p:tag name="ORIGINALWIDTH" val=" 605"/>
  <p:tag name="OUTPUTTYPE" val="PNG"/>
  <p:tag name="IGUANATEXVERSION" val="162"/>
  <p:tag name="LATEXADDIN" val="\documentclass{article}&#10;\usepackage{amsmath}&#10;\usepackage{xcolor}&#10;\pagestyle{empty}&#10;\begin{document}&#10;&#10;\definecolor{KITblue}{RGB}{0, 45, 76}&#10;\definecolor{KITlightblue}{RGB}{35, 161, 224}&#10;\definecolor{KITpurple}{RGB}{163, 16, 124}&#10;&#10;\begin{equation*}&#10;\color{KITblue}&#10;\supset \quad \langle E^{(3)}_{1-4} \rangle&#10;\end{equation*}&#10;&#10;&#10;\end{document}"/>
  <p:tag name="IGUANATEXSIZE" val="16"/>
  <p:tag name="IGUANATEXCURSOR" val="277"/>
  <p:tag name="TRANSPARENCY" val="True"/>
  <p:tag name="CHOOSECOLOR" val="False"/>
  <p:tag name="COLORHEX" val="000000"/>
  <p:tag name="LATEXENGINEID" val="0"/>
  <p:tag name="TEMPFOLDER" val="/Users/Pascal/Library/Containers/com.microsoft.Powerpoint/Data/tmp/TemporaryItems/"/>
  <p:tag name="LATEXFORMHEIGHT" val=" 426.65"/>
  <p:tag name="LATEXFORMWIDTH" val=" 513.35"/>
  <p:tag name="LATEXFORMWRAP" val="True"/>
  <p:tag name="BITMAPVECTOR" val="0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681"/>
  <p:tag name="ORIGINALWIDTH" val=" 3045"/>
  <p:tag name="OUTPUTTYPE" val="PNG"/>
  <p:tag name="IGUANATEXVERSION" val="162"/>
  <p:tag name="LATEXADDIN" val="\documentclass{article}&#10;\usepackage{amsmath}&#10;\usepackage{braket}&#10;\usepackage{xcolor}&#10;\pagestyle{empty}&#10;\begin{document}&#10;&#10;\definecolor{KITblue}{RGB}{0, 45, 76}&#10;\definecolor{KITlightblue}{RGB}{35, 161, 224}&#10;\definecolor{KITpurple}{RGB}{163, 16, 124}&#10;&#10;\begin{align*}&#10;\color{KITblue}&#10; \bra{B_s} \widetilde Q_S (\mu_2) \ket{\bar B_s} &#10; &amp;&#10;\color{KITblue} \overset{\rm VIA}{=} \left( \frac{2}{N_c} - 1 \right)  \bra{B_s} \bar s \gamma_5 b \ket{0} \bra{0} &#10;  \bar s \gamma_5 b \ket{\bar B_s}\\&#10;  &amp;&#10;\color{KITblue} \overset{\phantom{\rm VIA}}{=} \left( 1- \frac{2}{N_c} \right) \frac{f_{B_s}^2 M_{B_s}^4}{\left[ m_b(\mu_2) +m_s(\mu_2)\right]^2}&#10;\end{align*}&#10;&#10;&#10;\end{document}"/>
  <p:tag name="IGUANATEXSIZE" val="16"/>
  <p:tag name="IGUANATEXCURSOR" val="349"/>
  <p:tag name="TRANSPARENCY" val="True"/>
  <p:tag name="CHOOSECOLOR" val="False"/>
  <p:tag name="COLORHEX" val="000000"/>
  <p:tag name="LATEXENGINEID" val="0"/>
  <p:tag name="TEMPFOLDER" val="/Users/Pascal/Library/Containers/com.microsoft.Powerpoint/Data/tmp/TemporaryItems/"/>
  <p:tag name="LATEXFORMHEIGHT" val=" 426.65"/>
  <p:tag name="LATEXFORMWIDTH" val=" 513.35"/>
  <p:tag name="LATEXFORMWRAP" val="True"/>
  <p:tag name="BITMAPVECTOR" val="0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41"/>
  <p:tag name="ORIGINALWIDTH" val=" 1490"/>
  <p:tag name="OUTPUTTYPE" val="PNG"/>
  <p:tag name="IGUANATEXVERSION" val="162"/>
  <p:tag name="LATEXADDIN" val="\documentclass{article}&#10;\usepackage{amsmath}&#10;\usepackage{xcolor}&#10;\pagestyle{empty}&#10;\begin{document}&#10;&#10;\definecolor{KITblue}{RGB}{0, 45, 76}&#10;\definecolor{KITlightblue}{RGB}{35, 161, 224}&#10;\definecolor{KITpurple}{RGB}{163, 16, 124}&#10;&#10;\begin{equation*}&#10;\color{KITblue}&#10;\Delta\Gamma_s = {{(0.077 \pm 0.016)}} ~\mbox{ps}^{-1}&#10;\end{equation*}&#10;&#10;&#10;\end{document}"/>
  <p:tag name="IGUANATEXSIZE" val="20"/>
  <p:tag name="IGUANATEXCURSOR" val="298"/>
  <p:tag name="TRANSPARENCY" val="True"/>
  <p:tag name="CHOOSECOLOR" val="False"/>
  <p:tag name="COLORHEX" val="000000"/>
  <p:tag name="LATEXENGINEID" val="0"/>
  <p:tag name="TEMPFOLDER" val="/Users/Pascal/Library/Containers/com.microsoft.Powerpoint/Data/tmp/TemporaryItems/"/>
  <p:tag name="LATEXFORMHEIGHT" val=" 426.65"/>
  <p:tag name="LATEXFORMWIDTH" val=" 513.35"/>
  <p:tag name="LATEXFORMWRAP" val="True"/>
  <p:tag name="BITMAPVECTOR" val="0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41"/>
  <p:tag name="ORIGINALWIDTH" val=" 1395"/>
  <p:tag name="OUTPUTTYPE" val="PNG"/>
  <p:tag name="IGUANATEXVERSION" val="162"/>
  <p:tag name="LATEXADDIN" val="\documentclass{article}&#10;\usepackage{amsmath}&#10;\usepackage{xcolor}&#10;\pagestyle{empty}&#10;\begin{document}&#10;&#10;\definecolor{KITblue}{RGB}{0, 45, 76}&#10;\definecolor{KITlightblue}{RGB}{35, 161, 224}&#10;\definecolor{KITpurple}{RGB}{163, 16, 124}&#10;&#10;\begin{equation*}&#10;\color{KITblue}&#10;a_{\text{fs}}^s = \left({2.28 \pm 0.14} \right) \times 10^{-5}&#10;\end{equation*}&#10;&#10;&#10;\end{document}"/>
  <p:tag name="IGUANATEXSIZE" val="20"/>
  <p:tag name="IGUANATEXCURSOR" val="292"/>
  <p:tag name="TRANSPARENCY" val="True"/>
  <p:tag name="CHOOSECOLOR" val="False"/>
  <p:tag name="COLORHEX" val="000000"/>
  <p:tag name="LATEXENGINEID" val="0"/>
  <p:tag name="TEMPFOLDER" val="/Users/Pascal/Library/Containers/com.microsoft.Powerpoint/Data/tmp/TemporaryItems/"/>
  <p:tag name="LATEXFORMHEIGHT" val=" 426.65"/>
  <p:tag name="LATEXFORMWIDTH" val=" 513.35"/>
  <p:tag name="LATEXFORMWRAP" val="True"/>
  <p:tag name="BITMAPVECTOR" val="0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41"/>
  <p:tag name="ORIGINALWIDTH" val=" 1744"/>
  <p:tag name="OUTPUTTYPE" val="PNG"/>
  <p:tag name="IGUANATEXVERSION" val="162"/>
  <p:tag name="LATEXADDIN" val="\documentclass{article}&#10;\usepackage{amsmath}&#10;\usepackage{xcolor}&#10;\pagestyle{empty}&#10;\begin{document}&#10;&#10;\definecolor{KITblue}{RGB}{0, 45, 76}&#10;\definecolor{KITlightblue}{RGB}{35, 161, 224}&#10;\definecolor{KITpurple}{RGB}{163, 16, 124}&#10;&#10;\begin{equation*}&#10;\color{KITblue}&#10;\Delta\Gamma_d = {{(0.00211 \pm 0.00045)}} ~\mbox{ps}^{-1}&#10;\end{equation*}&#10;&#10;&#10;\end{document}"/>
  <p:tag name="IGUANATEXSIZE" val="20"/>
  <p:tag name="IGUANATEXCURSOR" val="302"/>
  <p:tag name="TRANSPARENCY" val="True"/>
  <p:tag name="CHOOSECOLOR" val="False"/>
  <p:tag name="COLORHEX" val="000000"/>
  <p:tag name="LATEXENGINEID" val="0"/>
  <p:tag name="TEMPFOLDER" val="/Users/Pascal/Library/Containers/com.microsoft.Powerpoint/Data/tmp/TemporaryItems/"/>
  <p:tag name="LATEXFORMHEIGHT" val=" 426.65"/>
  <p:tag name="LATEXFORMWIDTH" val=" 513.35"/>
  <p:tag name="LATEXFORMWRAP" val="True"/>
  <p:tag name="BITMAPVECTOR" val="0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44"/>
  <p:tag name="ORIGINALWIDTH" val=" 1514"/>
  <p:tag name="OUTPUTTYPE" val="PNG"/>
  <p:tag name="IGUANATEXVERSION" val="162"/>
  <p:tag name="LATEXADDIN" val="\documentclass{article}&#10;\usepackage{amsmath}&#10;\usepackage{xcolor}&#10;\pagestyle{empty}&#10;\begin{document}&#10;&#10;\definecolor{KITblue}{RGB}{0, 45, 76}&#10;\definecolor{KITlightblue}{RGB}{35, 161, 224}&#10;\definecolor{KITpurple}{RGB}{163, 16, 124}&#10;&#10;\begin{equation*}&#10;\color{KITblue}&#10;a_{\text{fs}}^d = - \left({5.21 \pm 0.32} \right) \times 10^{-4}&#10;\end{equation*}&#10;&#10;&#10;\end{document}"/>
  <p:tag name="IGUANATEXSIZE" val="20"/>
  <p:tag name="IGUANATEXCURSOR" val="303"/>
  <p:tag name="TRANSPARENCY" val="True"/>
  <p:tag name="CHOOSECOLOR" val="False"/>
  <p:tag name="COLORHEX" val="000000"/>
  <p:tag name="LATEXENGINEID" val="0"/>
  <p:tag name="TEMPFOLDER" val="/Users/Pascal/Library/Containers/com.microsoft.Powerpoint/Data/tmp/TemporaryItems/"/>
  <p:tag name="LATEXFORMHEIGHT" val=" 426.65"/>
  <p:tag name="LATEXFORMWIDTH" val=" 513.35"/>
  <p:tag name="LATEXFORMWRAP" val="True"/>
  <p:tag name="BITMAPVECTOR" val="0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yv0hDKyso8iaH25MsZv8w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yqh8w6tuJt.N7MwXleF3A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5c5dnUSCUHZFMYEYn1oxw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6y6B7kNz8Z.x1ZF.DDbgw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4vQIBr5jhZi5fKw6tZad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vRVtZ9PpH3tg.lb_WTr6w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0X37hTlaVzx6kzkpcRtJg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v3VVlgQD.KEq6Vbr6oOaw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Nbz5vn_vGNGgm2kFyAZWQ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MR7rjFrSHviqj99LCGTdA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M0QcMdNXoVl.vkPe9uMTA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KYsNPBeBkq95Fuyiiqq0A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sFyu7tGVmJNFfg2WldOBQ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5UMjSfW0G93T061pcwzog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NRLP9vG2UZSCt6X5izvn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59"/>
  <p:tag name="ORIGINALWIDTH" val=" 1294"/>
  <p:tag name="OUTPUTTYPE" val="PNG"/>
  <p:tag name="IGUANATEXVERSION" val="162"/>
  <p:tag name="LATEXADDIN" val="\documentclass{article}&#10;\usepackage{amsmath}&#10;\usepackage{xcolor}&#10;\pagestyle{empty}&#10;\begin{document}&#10;&#10;\definecolor{KITblue}{RGB}{0, 45, 76}&#10;&#10;\begin{equation*}&#10;\color{KITblue}&#10;\lvert B_\text{L,H} \rangle = p \lvert B^0_q \rangle \pm q \lvert \bar{B^0}_q \rangle&#10;\end{equation*}&#10;&#10;&#10;\end{document}"/>
  <p:tag name="IGUANATEXSIZE" val="16"/>
  <p:tag name="IGUANATEXCURSOR" val="191"/>
  <p:tag name="TRANSPARENCY" val="True"/>
  <p:tag name="CHOOSECOLOR" val="False"/>
  <p:tag name="COLORHEX" val="000000"/>
  <p:tag name="LATEXENGINEID" val="0"/>
  <p:tag name="TEMPFOLDER" val="/Users/Pascal/Library/Containers/com.microsoft.Powerpoint/Data/tmp/TemporaryItems/"/>
  <p:tag name="LATEXFORMHEIGHT" val=" 426.65"/>
  <p:tag name="LATEXFORMWIDTH" val=" 513.35"/>
  <p:tag name="LATEXFORMWRAP" val="True"/>
  <p:tag name="BITMAPVECTOR" val="0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311"/>
  <p:tag name="ORIGINALWIDTH" val=" 1934"/>
  <p:tag name="OUTPUTTYPE" val="PNG"/>
  <p:tag name="IGUANATEXVERSION" val="162"/>
  <p:tag name="LATEXADDIN" val="\documentclass{article}&#10;\usepackage{amsmath}&#10;\usepackage{xcolor}&#10;\pagestyle{empty}&#10;\begin{document}&#10;&#10;\definecolor{KITblue}{RGB}{0, 45, 76}&#10;\definecolor{KITlightblue}{RGB}{35, 161, 224}&#10;\definecolor{KITpurple}{RGB}{163, 16, 124}&#10;&#10;\begin{equation*}&#10;\color{KITblue}&#10;a_{\rm fs}^d = \left[a\, \text{Im} \frac{\lambda_u^d}{\lambda_t^d} + b\, \text{Im} \frac{(\lambda_u^d)^2}{(\lambda_t^d)^2} \right]\times 10^{-4}&#10;\end{equation*}&#10;&#10;&#10;\end{document}"/>
  <p:tag name="IGUANATEXSIZE" val="20"/>
  <p:tag name="IGUANATEXCURSOR" val="407"/>
  <p:tag name="TRANSPARENCY" val="True"/>
  <p:tag name="CHOOSECOLOR" val="False"/>
  <p:tag name="COLORHEX" val="000000"/>
  <p:tag name="LATEXENGINEID" val="0"/>
  <p:tag name="TEMPFOLDER" val="/Users/Pascal/Library/Containers/com.microsoft.Powerpoint/Data/tmp/TemporaryItems/"/>
  <p:tag name="LATEXFORMHEIGHT" val=" 426.65"/>
  <p:tag name="LATEXFORMWIDTH" val=" 513.35"/>
  <p:tag name="LATEXFORMWRAP" val="True"/>
  <p:tag name="BITMAPVECTOR" val="0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311"/>
  <p:tag name="ORIGINALWIDTH" val=" 1258"/>
  <p:tag name="OUTPUTTYPE" val="PNG"/>
  <p:tag name="IGUANATEXVERSION" val="162"/>
  <p:tag name="LATEXADDIN" val="\documentclass{article}&#10;\usepackage{amsmath}&#10;\usepackage{xcolor}&#10;\pagestyle{empty}&#10;\begin{document}&#10;&#10;\definecolor{KITblue}{RGB}{0, 45, 76}&#10;\definecolor{KITlightblue}{RGB}{35, 161, 224}&#10;\definecolor{KITpurple}{RGB}{163, 16, 124}&#10;&#10;\begin{equation*}&#10;\color{KITblue}&#10;\frac{\lambda_u^d}{\lambda_t^d} = \frac{1-\bar\rho - i \bar\eta}{(1-\bar\rho)^2+\bar\eta^2} - 1&#10;\end{equation*}&#10;&#10;&#10;\end{document}"/>
  <p:tag name="IGUANATEXSIZE" val="20"/>
  <p:tag name="IGUANATEXCURSOR" val="358"/>
  <p:tag name="TRANSPARENCY" val="True"/>
  <p:tag name="CHOOSECOLOR" val="False"/>
  <p:tag name="COLORHEX" val="000000"/>
  <p:tag name="LATEXENGINEID" val="0"/>
  <p:tag name="TEMPFOLDER" val="/Users/Pascal/Library/Containers/com.microsoft.Powerpoint/Data/tmp/TemporaryItems/"/>
  <p:tag name="LATEXFORMHEIGHT" val=" 426.65"/>
  <p:tag name="LATEXFORMWIDTH" val=" 513.35"/>
  <p:tag name="LATEXFORMWRAP" val="True"/>
  <p:tag name="BITMAPVECTOR" val="0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350"/>
  <p:tag name="ORIGINALWIDTH" val=" 1948"/>
  <p:tag name="OUTPUTTYPE" val="PNG"/>
  <p:tag name="IGUANATEXVERSION" val="162"/>
  <p:tag name="LATEXADDIN" val="\documentclass{article}&#10;\usepackage{amsmath}&#10;\usepackage{xcolor}&#10;\pagestyle{empty}&#10;\begin{document}&#10;&#10;\definecolor{KITblue}{RGB}{0, 45, 76}&#10;\definecolor{KITlightblue}{RGB}{35, 161, 224}&#10;\definecolor{KITpurple}{RGB}{163, 16, 124}&#10;&#10;\begin{align*}&#10;\color{KITblue}&#10;( a_{\rm fs}^d)^\text{exp} &amp; \color{KITblue} = -5 \times 10^{-4} \quad \text{(left bands)}\\&#10;\color{KITblue}( a_{\rm fs}^d)^\text{exp} &amp; \color{KITblue} = -1 \times 10^{-3} \quad \text{(right bands)}&#10;\end{align*}&#10;&#10;&#10;\end{document}"/>
  <p:tag name="IGUANATEXSIZE" val="20"/>
  <p:tag name="IGUANATEXCURSOR" val="352"/>
  <p:tag name="TRANSPARENCY" val="True"/>
  <p:tag name="CHOOSECOLOR" val="False"/>
  <p:tag name="COLORHEX" val="000000"/>
  <p:tag name="LATEXENGINEID" val="0"/>
  <p:tag name="TEMPFOLDER" val="/Users/Pascal/Library/Containers/com.microsoft.Powerpoint/Data/tmp/TemporaryItems/"/>
  <p:tag name="LATEXFORMHEIGHT" val=" 426.65"/>
  <p:tag name="LATEXFORMWIDTH" val=" 513.35"/>
  <p:tag name="LATEXFORMWRAP" val="True"/>
  <p:tag name="BITMAPVECTOR" val="0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08"/>
  <p:tag name="ORIGINALWIDTH" val=" 929"/>
  <p:tag name="OUTPUTTYPE" val="PNG"/>
  <p:tag name="IGUANATEXVERSION" val="162"/>
  <p:tag name="LATEXADDIN" val="\documentclass{article}&#10;\usepackage{amsmath}&#10;\usepackage{xcolor}&#10;\pagestyle{empty}&#10;\begin{document}&#10;&#10;\definecolor{KITblue}{RGB}{0, 45, 76}&#10;&#10;\begin{equation*}&#10;\color{KITblue}&#10;\Delta M = M_\text{H} - M_\text{L}&#10;\end{equation*}&#10;&#10;&#10;\end{document}"/>
  <p:tag name="IGUANATEXSIZE" val="16"/>
  <p:tag name="IGUANATEXCURSOR" val="208"/>
  <p:tag name="TRANSPARENCY" val="True"/>
  <p:tag name="CHOOSECOLOR" val="False"/>
  <p:tag name="COLORHEX" val="000000"/>
  <p:tag name="LATEXENGINEID" val="0"/>
  <p:tag name="TEMPFOLDER" val="/Users/Pascal/Library/Containers/com.microsoft.Powerpoint/Data/tmp/TemporaryItems/"/>
  <p:tag name="LATEXFORMHEIGHT" val=" 426.65"/>
  <p:tag name="LATEXFORMWIDTH" val=" 513.35"/>
  <p:tag name="LATEXFORMWRAP" val="True"/>
  <p:tag name="BITMAPVECTOR" val="0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08"/>
  <p:tag name="ORIGINALWIDTH" val=" 822"/>
  <p:tag name="OUTPUTTYPE" val="PNG"/>
  <p:tag name="IGUANATEXVERSION" val="162"/>
  <p:tag name="LATEXADDIN" val="\documentclass{article}&#10;\usepackage{amsmath}&#10;\usepackage{xcolor}&#10;\pagestyle{empty}&#10;\begin{document}&#10;&#10;\definecolor{KITblue}{RGB}{0, 45, 76}&#10;&#10;\begin{equation*}&#10;\color{KITblue}&#10;\Delta \Gamma = \Gamma_\text{L} - \Gamma_\text{H}.&#10;\end{equation*}&#10;&#10;&#10;\end{document}"/>
  <p:tag name="IGUANATEXSIZE" val="16"/>
  <p:tag name="IGUANATEXCURSOR" val="224"/>
  <p:tag name="TRANSPARENCY" val="True"/>
  <p:tag name="CHOOSECOLOR" val="False"/>
  <p:tag name="COLORHEX" val="000000"/>
  <p:tag name="LATEXENGINEID" val="0"/>
  <p:tag name="TEMPFOLDER" val="/Users/Pascal/Library/Containers/com.microsoft.Powerpoint/Data/tmp/TemporaryItems/"/>
  <p:tag name="LATEXFORMHEIGHT" val=" 426.65"/>
  <p:tag name="LATEXFORMWIDTH" val=" 513.35"/>
  <p:tag name="LATEXFORMWRAP" val="True"/>
  <p:tag name="BITMAPVECTOR" val="0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57"/>
  <p:tag name="ORIGINALWIDTH" val=" 212"/>
  <p:tag name="OUTPUTTYPE" val="PNG"/>
  <p:tag name="IGUANATEXVERSION" val="162"/>
  <p:tag name="LATEXADDIN" val="\documentclass{article}&#10;\usepackage{amsmath}&#10;\usepackage{xcolor}&#10;\pagestyle{empty}&#10;\begin{document}&#10;&#10;\definecolor{KITblue}{RGB}{0, 45, 76}&#10;&#10;\begin{equation*}&#10;\color{KITblue}&#10;\lvert B^0_q \rangle&#10;\end{equation*}&#10;&#10;&#10;\end{document}"/>
  <p:tag name="IGUANATEXSIZE" val="16"/>
  <p:tag name="IGUANATEXCURSOR" val="194"/>
  <p:tag name="TRANSPARENCY" val="True"/>
  <p:tag name="CHOOSECOLOR" val="False"/>
  <p:tag name="COLORHEX" val="000000"/>
  <p:tag name="LATEXENGINEID" val="0"/>
  <p:tag name="TEMPFOLDER" val="/Users/Pascal/Library/Containers/com.microsoft.Powerpoint/Data/tmp/TemporaryItems/"/>
  <p:tag name="LATEXFORMHEIGHT" val=" 426.65"/>
  <p:tag name="LATEXFORMWIDTH" val=" 513.35"/>
  <p:tag name="LATEXFORMWRAP" val="True"/>
  <p:tag name="BITMAPVECTOR" val="0"/>
</p:tagLst>
</file>

<file path=ppt/theme/theme1.xml><?xml version="1.0" encoding="utf-8"?>
<a:theme xmlns:a="http://schemas.openxmlformats.org/drawingml/2006/main" name="KIT">
  <a:themeElements>
    <a:clrScheme name="KIT">
      <a:dk1>
        <a:srgbClr val="002D4C"/>
      </a:dk1>
      <a:lt1>
        <a:srgbClr val="FFFFFF"/>
      </a:lt1>
      <a:dk2>
        <a:srgbClr val="DAE1E6"/>
      </a:dk2>
      <a:lt2>
        <a:srgbClr val="A8B9C4"/>
      </a:lt2>
      <a:accent1>
        <a:srgbClr val="009682"/>
      </a:accent1>
      <a:accent2>
        <a:srgbClr val="005A50"/>
      </a:accent2>
      <a:accent3>
        <a:srgbClr val="23A1E0"/>
      </a:accent3>
      <a:accent4>
        <a:srgbClr val="0C537E"/>
      </a:accent4>
      <a:accent5>
        <a:srgbClr val="8CB63C"/>
      </a:accent5>
      <a:accent6>
        <a:srgbClr val="276738"/>
      </a:accent6>
      <a:hlink>
        <a:srgbClr val="009682"/>
      </a:hlink>
      <a:folHlink>
        <a:srgbClr val="002D4C"/>
      </a:folHlink>
    </a:clrScheme>
    <a:fontScheme name="KIT">
      <a:majorFont>
        <a:latin typeface="Franklin Gothic Medium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gray">
        <a:solidFill>
          <a:schemeClr val="accent1"/>
        </a:solidFill>
        <a:ln w="3175">
          <a:solidFill>
            <a:schemeClr val="accent1"/>
          </a:solidFill>
        </a:ln>
      </a:spPr>
      <a:bodyPr wrap="square" lIns="144000" tIns="144000" rIns="144000" bIns="144000" rtlCol="0" anchor="ctr"/>
      <a:lstStyle>
        <a:defPPr algn="ctr">
          <a:defRPr sz="1400" b="1" dirty="0">
            <a:solidFill>
              <a:schemeClr val="bg1"/>
            </a:solidFill>
          </a:defRPr>
        </a:defPPr>
      </a:lstStyle>
      <a:style>
        <a:lnRef idx="2">
          <a:schemeClr val="accent1">
            <a:shade val="15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 w="9525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square" lIns="0" tIns="0" rIns="0" bIns="0" rtlCol="0">
        <a:noAutofit/>
      </a:bodyPr>
      <a:lstStyle>
        <a:defPPr marL="180000" indent="-180000" algn="l" defTabSz="914347">
          <a:lnSpc>
            <a:spcPct val="110000"/>
          </a:lnSpc>
          <a:spcBef>
            <a:spcPts val="300"/>
          </a:spcBef>
          <a:spcAft>
            <a:spcPts val="300"/>
          </a:spcAft>
          <a:buClr>
            <a:schemeClr val="accent1"/>
          </a:buClr>
          <a:buSzPct val="90000"/>
          <a:buFont typeface="Wingdings" panose="05000000000000000000" pitchFamily="2" charset="2"/>
          <a:buChar char="§"/>
          <a:defRPr sz="1400" dirty="0" err="1" smtClean="0"/>
        </a:defPPr>
      </a:lstStyle>
    </a:txDef>
  </a:objectDefaults>
  <a:extraClrSchemeLst/>
  <a:custClrLst>
    <a:custClr name="Schwarz">
      <a:srgbClr val="000000"/>
    </a:custClr>
    <a:custClr name="Pink">
      <a:srgbClr val="A3107C"/>
    </a:custClr>
    <a:custClr name="Orange">
      <a:srgbClr val="DF9B1B"/>
    </a:custClr>
    <a:custClr name="Gelb">
      <a:srgbClr val="FCE500"/>
    </a:custClr>
    <a:custClr name="Rot">
      <a:srgbClr val="D30015"/>
    </a:custClr>
    <a:custClr name="Braun">
      <a:srgbClr val="A7822E"/>
    </a:custClr>
  </a:custClrLst>
  <a:extLst>
    <a:ext uri="{05A4C25C-085E-4340-85A3-A5531E510DB2}">
      <thm15:themeFamily xmlns:thm15="http://schemas.microsoft.com/office/thememl/2012/main" name="KIT_Template_EN_06_EXP.potx" id="{9D79CB2B-911D-4C6F-9468-0737833AA29D}" vid="{B45BFACE-B4DC-43DC-87D8-5DEC4930479A}"/>
    </a:ext>
  </a:extLst>
</a:theme>
</file>

<file path=ppt/theme/theme2.xml><?xml version="1.0" encoding="utf-8"?>
<a:theme xmlns:a="http://schemas.openxmlformats.org/drawingml/2006/main" name="Office">
  <a:themeElements>
    <a:clrScheme name="KIT">
      <a:dk1>
        <a:srgbClr val="002D4C"/>
      </a:dk1>
      <a:lt1>
        <a:srgbClr val="FFFFFF"/>
      </a:lt1>
      <a:dk2>
        <a:srgbClr val="DAE1E6"/>
      </a:dk2>
      <a:lt2>
        <a:srgbClr val="A8B9C4"/>
      </a:lt2>
      <a:accent1>
        <a:srgbClr val="009682"/>
      </a:accent1>
      <a:accent2>
        <a:srgbClr val="005A50"/>
      </a:accent2>
      <a:accent3>
        <a:srgbClr val="23A1E0"/>
      </a:accent3>
      <a:accent4>
        <a:srgbClr val="0C537E"/>
      </a:accent4>
      <a:accent5>
        <a:srgbClr val="8CB63C"/>
      </a:accent5>
      <a:accent6>
        <a:srgbClr val="276738"/>
      </a:accent6>
      <a:hlink>
        <a:srgbClr val="009682"/>
      </a:hlink>
      <a:folHlink>
        <a:srgbClr val="002D4C"/>
      </a:folHlink>
    </a:clrScheme>
    <a:fontScheme name="KIT">
      <a:majorFont>
        <a:latin typeface="Franklin Gothic Medium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gray">
        <a:solidFill>
          <a:schemeClr val="accent1"/>
        </a:solidFill>
        <a:ln w="3175">
          <a:solidFill>
            <a:schemeClr val="accent1"/>
          </a:solidFill>
        </a:ln>
      </a:spPr>
      <a:bodyPr wrap="square" lIns="144000" tIns="144000" rIns="144000" bIns="144000" rtlCol="0" anchor="ctr"/>
      <a:lstStyle>
        <a:defPPr algn="ctr">
          <a:defRPr sz="1200" b="1" dirty="0">
            <a:solidFill>
              <a:schemeClr val="bg1"/>
            </a:solidFill>
          </a:defRPr>
        </a:defPPr>
      </a:lstStyle>
      <a:style>
        <a:lnRef idx="2">
          <a:schemeClr val="accent1">
            <a:shade val="15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 w="9525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square" lIns="0" tIns="0" rIns="0" bIns="0" rtlCol="0">
        <a:noAutofit/>
      </a:bodyPr>
      <a:lstStyle>
        <a:defPPr marL="180000" indent="-180000" algn="l">
          <a:lnSpc>
            <a:spcPct val="110000"/>
          </a:lnSpc>
          <a:spcBef>
            <a:spcPts val="300"/>
          </a:spcBef>
          <a:spcAft>
            <a:spcPts val="300"/>
          </a:spcAft>
          <a:buClr>
            <a:schemeClr val="accent1"/>
          </a:buClr>
          <a:buFont typeface="Wingdings" panose="05000000000000000000" pitchFamily="2" charset="2"/>
          <a:buChar char="§"/>
          <a:defRPr sz="1200" dirty="0" err="1" smtClean="0">
            <a:solidFill>
              <a:srgbClr val="000000"/>
            </a:solidFill>
          </a:defRPr>
        </a:defPPr>
      </a:lstStyle>
    </a:txDef>
  </a:objectDefaults>
  <a:extraClrSchemeLst/>
  <a:custClrLst>
    <a:custClr name="Schwarz">
      <a:srgbClr val="000000"/>
    </a:custClr>
    <a:custClr name="Pink">
      <a:srgbClr val="A3107C"/>
    </a:custClr>
    <a:custClr name="Orange">
      <a:srgbClr val="DF9B1B"/>
    </a:custClr>
    <a:custClr name="Gelb">
      <a:srgbClr val="FCE500"/>
    </a:custClr>
    <a:custClr name="Rot">
      <a:srgbClr val="D30015"/>
    </a:custClr>
    <a:custClr name="Braun">
      <a:srgbClr val="A7822E"/>
    </a:custClr>
  </a:custClrLst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3.xml><?xml version="1.0" encoding="utf-8"?>
<a:theme xmlns:a="http://schemas.openxmlformats.org/drawingml/2006/main" name="Office">
  <a:themeElements>
    <a:clrScheme name="KIT">
      <a:dk1>
        <a:srgbClr val="002D4C"/>
      </a:dk1>
      <a:lt1>
        <a:srgbClr val="FFFFFF"/>
      </a:lt1>
      <a:dk2>
        <a:srgbClr val="DAE1E6"/>
      </a:dk2>
      <a:lt2>
        <a:srgbClr val="A8B9C4"/>
      </a:lt2>
      <a:accent1>
        <a:srgbClr val="009682"/>
      </a:accent1>
      <a:accent2>
        <a:srgbClr val="005A50"/>
      </a:accent2>
      <a:accent3>
        <a:srgbClr val="23A1E0"/>
      </a:accent3>
      <a:accent4>
        <a:srgbClr val="0C537E"/>
      </a:accent4>
      <a:accent5>
        <a:srgbClr val="8CB63C"/>
      </a:accent5>
      <a:accent6>
        <a:srgbClr val="276738"/>
      </a:accent6>
      <a:hlink>
        <a:srgbClr val="009682"/>
      </a:hlink>
      <a:folHlink>
        <a:srgbClr val="002D4C"/>
      </a:folHlink>
    </a:clrScheme>
    <a:fontScheme name="KIT">
      <a:majorFont>
        <a:latin typeface="Franklin Gothic Medium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gray">
        <a:solidFill>
          <a:schemeClr val="accent1"/>
        </a:solidFill>
        <a:ln w="3175">
          <a:solidFill>
            <a:schemeClr val="accent1"/>
          </a:solidFill>
        </a:ln>
      </a:spPr>
      <a:bodyPr wrap="square" lIns="144000" tIns="144000" rIns="144000" bIns="144000" rtlCol="0" anchor="ctr"/>
      <a:lstStyle>
        <a:defPPr algn="ctr">
          <a:defRPr sz="1200" b="1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15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 w="9525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square" lIns="0" tIns="0" rIns="0" bIns="0" rtlCol="0">
        <a:noAutofit/>
      </a:bodyPr>
      <a:lstStyle>
        <a:defPPr marL="180000" indent="-180000" algn="l">
          <a:lnSpc>
            <a:spcPct val="110000"/>
          </a:lnSpc>
          <a:spcBef>
            <a:spcPts val="300"/>
          </a:spcBef>
          <a:spcAft>
            <a:spcPts val="300"/>
          </a:spcAft>
          <a:buClr>
            <a:schemeClr val="accent1"/>
          </a:buClr>
          <a:buFont typeface="Wingdings" panose="05000000000000000000" pitchFamily="2" charset="2"/>
          <a:buChar char="§"/>
          <a:defRPr sz="1200" dirty="0" err="1" smtClean="0">
            <a:solidFill>
              <a:srgbClr val="000000"/>
            </a:solidFill>
          </a:defRPr>
        </a:defPPr>
      </a:lstStyle>
    </a:txDef>
  </a:objectDefaults>
  <a:extraClrSchemeLst/>
  <a:custClrLst>
    <a:custClr name="Schwarz">
      <a:srgbClr val="000000"/>
    </a:custClr>
    <a:custClr name="Pink">
      <a:srgbClr val="A3107C"/>
    </a:custClr>
    <a:custClr name="Orange">
      <a:srgbClr val="DF9B1B"/>
    </a:custClr>
    <a:custClr name="Gelb">
      <a:srgbClr val="FCE500"/>
    </a:custClr>
    <a:custClr name="Rot">
      <a:srgbClr val="D30015"/>
    </a:custClr>
    <a:custClr name="Braun">
      <a:srgbClr val="A7822E"/>
    </a:custClr>
  </a:custClrLst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92E5FD0FACC1A441A3B98524628D82BB" ma:contentTypeVersion="18" ma:contentTypeDescription="Ein neues Dokument erstellen." ma:contentTypeScope="" ma:versionID="ca91d1d73b96296e36ac805fd617baf7">
  <xsd:schema xmlns:xsd="http://www.w3.org/2001/XMLSchema" xmlns:xs="http://www.w3.org/2001/XMLSchema" xmlns:p="http://schemas.microsoft.com/office/2006/metadata/properties" xmlns:ns3="81b2a3e8-42da-4da6-905d-11a8afbb605c" xmlns:ns4="a316b092-a2a1-4f3b-b455-46c1e19af03e" targetNamespace="http://schemas.microsoft.com/office/2006/metadata/properties" ma:root="true" ma:fieldsID="c25dfe43a6d077542e50f2e8cf508a91" ns3:_="" ns4:_="">
    <xsd:import namespace="81b2a3e8-42da-4da6-905d-11a8afbb605c"/>
    <xsd:import namespace="a316b092-a2a1-4f3b-b455-46c1e19af03e"/>
    <xsd:element name="properties">
      <xsd:complexType>
        <xsd:sequence>
          <xsd:element name="documentManagement">
            <xsd:complexType>
              <xsd:all>
                <xsd:element ref="ns3:SharedWithUsers" minOccurs="0"/>
                <xsd:element ref="ns3:SharedWithDetails" minOccurs="0"/>
                <xsd:element ref="ns3:SharingHintHash" minOccurs="0"/>
                <xsd:element ref="ns4:MediaServiceMetadata" minOccurs="0"/>
                <xsd:element ref="ns4:MediaServiceFastMetadata" minOccurs="0"/>
                <xsd:element ref="ns4:MediaServiceDateTaken" minOccurs="0"/>
                <xsd:element ref="ns4:MediaServiceAutoTags" minOccurs="0"/>
                <xsd:element ref="ns4:MediaServiceOCR" minOccurs="0"/>
                <xsd:element ref="ns4:MediaServiceGenerationTime" minOccurs="0"/>
                <xsd:element ref="ns4:MediaServiceEventHashCode" minOccurs="0"/>
                <xsd:element ref="ns4:MediaServiceAutoKeyPoints" minOccurs="0"/>
                <xsd:element ref="ns4:MediaServiceKeyPoints" minOccurs="0"/>
                <xsd:element ref="ns4:MediaServiceLocation" minOccurs="0"/>
                <xsd:element ref="ns4:MediaLengthInSeconds" minOccurs="0"/>
                <xsd:element ref="ns4:_activity" minOccurs="0"/>
                <xsd:element ref="ns4:MediaServiceSearchProperties" minOccurs="0"/>
                <xsd:element ref="ns4:MediaServiceObjectDetectorVersions" minOccurs="0"/>
                <xsd:element ref="ns4:MediaServiceSystemTag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1b2a3e8-42da-4da6-905d-11a8afbb605c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0" nillable="true" ma:displayName="Freigabehinweishash" ma:hidden="true" ma:internalName="SharingHintHash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316b092-a2a1-4f3b-b455-46c1e19af03e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1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2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4" nillable="true" ma:displayName="Tags" ma:internalName="MediaServiceAutoTags" ma:readOnly="true">
      <xsd:simpleType>
        <xsd:restriction base="dms:Text"/>
      </xsd:simple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8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9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Location" ma:index="20" nillable="true" ma:displayName="Location" ma:internalName="MediaServiceLocation" ma:readOnly="true">
      <xsd:simpleType>
        <xsd:restriction base="dms:Text"/>
      </xsd:simpleType>
    </xsd:element>
    <xsd:element name="MediaLengthInSeconds" ma:index="21" nillable="true" ma:displayName="Length (seconds)" ma:internalName="MediaLengthInSeconds" ma:readOnly="true">
      <xsd:simpleType>
        <xsd:restriction base="dms:Unknown"/>
      </xsd:simpleType>
    </xsd:element>
    <xsd:element name="_activity" ma:index="22" nillable="true" ma:displayName="_activity" ma:hidden="true" ma:internalName="_activity">
      <xsd:simpleType>
        <xsd:restriction base="dms:Note"/>
      </xsd:simpleType>
    </xsd:element>
    <xsd:element name="MediaServiceSearchProperties" ma:index="23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24" nillable="true" ma:displayName="MediaServiceObjectDetectorVersions" ma:description="" ma:hidden="true" ma:indexed="true" ma:internalName="MediaServiceObjectDetectorVersions" ma:readOnly="true">
      <xsd:simpleType>
        <xsd:restriction base="dms:Text"/>
      </xsd:simpleType>
    </xsd:element>
    <xsd:element name="MediaServiceSystemTags" ma:index="25" nillable="true" ma:displayName="MediaServiceSystemTags" ma:hidden="true" ma:internalName="MediaServiceSystemTags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activity xmlns="a316b092-a2a1-4f3b-b455-46c1e19af03e" xsi:nil="true"/>
  </documentManagement>
</p:properties>
</file>

<file path=customXml/itemProps1.xml><?xml version="1.0" encoding="utf-8"?>
<ds:datastoreItem xmlns:ds="http://schemas.openxmlformats.org/officeDocument/2006/customXml" ds:itemID="{5E359DD4-3818-4294-9945-2CC7AB3D12A5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259D8DE2-2B91-453A-899A-5D9038445FF4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81b2a3e8-42da-4da6-905d-11a8afbb605c"/>
    <ds:schemaRef ds:uri="a316b092-a2a1-4f3b-b455-46c1e19af03e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CF159617-DEC9-404F-99CE-1D26659791CE}">
  <ds:schemaRefs>
    <ds:schemaRef ds:uri="http://schemas.openxmlformats.org/package/2006/metadata/core-properties"/>
    <ds:schemaRef ds:uri="http://purl.org/dc/elements/1.1/"/>
    <ds:schemaRef ds:uri="http://schemas.microsoft.com/office/2006/documentManagement/types"/>
    <ds:schemaRef ds:uri="http://purl.org/dc/terms/"/>
    <ds:schemaRef ds:uri="http://www.w3.org/XML/1998/namespace"/>
    <ds:schemaRef ds:uri="http://purl.org/dc/dcmitype/"/>
    <ds:schemaRef ds:uri="http://schemas.microsoft.com/office/infopath/2007/PartnerControls"/>
    <ds:schemaRef ds:uri="a316b092-a2a1-4f3b-b455-46c1e19af03e"/>
    <ds:schemaRef ds:uri="81b2a3e8-42da-4da6-905d-11a8afbb605c"/>
    <ds:schemaRef ds:uri="http://schemas.microsoft.com/office/2006/metadata/propertie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KIT_Template_EN_06_EXP</Template>
  <TotalTime>6491</TotalTime>
  <Words>1488</Words>
  <Application>Microsoft Macintosh PowerPoint</Application>
  <PresentationFormat>Widescreen</PresentationFormat>
  <Paragraphs>240</Paragraphs>
  <Slides>15</Slides>
  <Notes>8</Notes>
  <HiddenSlides>1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5</vt:i4>
      </vt:variant>
    </vt:vector>
  </HeadingPairs>
  <TitlesOfParts>
    <vt:vector size="23" baseType="lpstr">
      <vt:lpstr>Arial</vt:lpstr>
      <vt:lpstr>Cambria Math</vt:lpstr>
      <vt:lpstr>Franklin Gothic Medium</vt:lpstr>
      <vt:lpstr>Microsoft Sans Serif</vt:lpstr>
      <vt:lpstr>Symbol</vt:lpstr>
      <vt:lpstr>Wingdings</vt:lpstr>
      <vt:lpstr>KIT</vt:lpstr>
      <vt:lpstr>think-cell Slide</vt:lpstr>
      <vt:lpstr>Full NNLO QCD Corrections to B Meson Mixing</vt:lpstr>
      <vt:lpstr>Motivation</vt:lpstr>
      <vt:lpstr>Neutral B mesons exhibit particle-antiparticle mixing.</vt:lpstr>
      <vt:lpstr>Why do we care about B meson mixing?</vt:lpstr>
      <vt:lpstr>Our goal is to reduce the uncertainty due to high-energy QCD corrections.</vt:lpstr>
      <vt:lpstr>Technicalities</vt:lpstr>
      <vt:lpstr>We can complete the calculation of                   by matching two different QCD amplitudes.</vt:lpstr>
      <vt:lpstr>Evanescent operators present a unique challenge in dimensional regularisation.</vt:lpstr>
      <vt:lpstr>Fierz symmetry must be obeyed and can be implemented through the correct choice of evanescent operators.</vt:lpstr>
      <vt:lpstr>Results</vt:lpstr>
      <vt:lpstr>We have calculated all NNLO contributions to       .</vt:lpstr>
      <vt:lpstr>With NNLO corrections,        and        can be calculated to high precision.</vt:lpstr>
      <vt:lpstr>A future measurement of       provides a strong constraint on the apex of the CKM triangle.</vt:lpstr>
      <vt:lpstr>Thank you for your attention!</vt:lpstr>
      <vt:lpstr>What are B mesons?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Mario Meinhard</dc:creator>
  <cp:lastModifiedBy>Pascal Reeck</cp:lastModifiedBy>
  <cp:revision>99</cp:revision>
  <dcterms:created xsi:type="dcterms:W3CDTF">2025-02-04T07:45:31Z</dcterms:created>
  <dcterms:modified xsi:type="dcterms:W3CDTF">2025-07-01T11:23:5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92E5FD0FACC1A441A3B98524628D82BB</vt:lpwstr>
  </property>
</Properties>
</file>